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8" r:id="rId2"/>
  </p:sldMasterIdLst>
  <p:notesMasterIdLst>
    <p:notesMasterId r:id="rId11"/>
  </p:notesMasterIdLst>
  <p:handoutMasterIdLst>
    <p:handoutMasterId r:id="rId12"/>
  </p:handoutMasterIdLst>
  <p:sldIdLst>
    <p:sldId id="273" r:id="rId3"/>
    <p:sldId id="315" r:id="rId4"/>
    <p:sldId id="314" r:id="rId5"/>
    <p:sldId id="316" r:id="rId6"/>
    <p:sldId id="317" r:id="rId7"/>
    <p:sldId id="308" r:id="rId8"/>
    <p:sldId id="313" r:id="rId9"/>
    <p:sldId id="292" r:id="rId10"/>
  </p:sldIdLst>
  <p:sldSz cx="12192000" cy="6858000"/>
  <p:notesSz cx="6819900" cy="99187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  <a:srgbClr val="00B2AA"/>
    <a:srgbClr val="00A5BD"/>
    <a:srgbClr val="00ADB1"/>
    <a:srgbClr val="78D28C"/>
    <a:srgbClr val="99FF99"/>
    <a:srgbClr val="007BC7"/>
    <a:srgbClr val="0079C8"/>
    <a:srgbClr val="0089C6"/>
    <a:srgbClr val="009F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281" autoAdjust="0"/>
  </p:normalViewPr>
  <p:slideViewPr>
    <p:cSldViewPr snapToGrid="0">
      <p:cViewPr varScale="1">
        <p:scale>
          <a:sx n="109" d="100"/>
          <a:sy n="109" d="100"/>
        </p:scale>
        <p:origin x="636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90001" cy="900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62388" y="0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275F96-EAB9-4912-92AE-900787EF4897}" type="datetimeFigureOut">
              <a:rPr lang="ru-RU" smtClean="0"/>
              <a:t>21.09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1813"/>
            <a:ext cx="295592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62388" y="9421813"/>
            <a:ext cx="295592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5267CB-A9EF-422D-9194-53E3F1AE73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8797139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62388" y="0"/>
            <a:ext cx="29559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47F629-140F-45AE-8EB3-6CC11442C0D3}" type="datetimeFigureOut">
              <a:rPr lang="ru-RU" smtClean="0"/>
              <a:t>21.09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34975" y="1239838"/>
            <a:ext cx="5949950" cy="3348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2625" y="4773613"/>
            <a:ext cx="5454650" cy="39052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1813"/>
            <a:ext cx="295592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62388" y="9421813"/>
            <a:ext cx="295592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28BCED-5051-4F00-948C-825D115477E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9099970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76213" y="1077913"/>
            <a:ext cx="9566275" cy="5381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746622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44538"/>
            <a:ext cx="6610350" cy="37195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02234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76213" y="1077913"/>
            <a:ext cx="9566275" cy="5381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53977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76213" y="1077913"/>
            <a:ext cx="9566275" cy="5381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20419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4775" y="744538"/>
            <a:ext cx="6610350" cy="37195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66421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76213" y="1077913"/>
            <a:ext cx="9566275" cy="5381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724986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28BCED-5051-4F00-948C-825D115477E7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20155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79869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71734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7880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"/>
          <p:cNvSpPr txBox="1">
            <a:spLocks noGrp="1"/>
          </p:cNvSpPr>
          <p:nvPr>
            <p:ph type="body" sz="quarter" idx="13"/>
          </p:nvPr>
        </p:nvSpPr>
        <p:spPr>
          <a:xfrm>
            <a:off x="600670" y="5929931"/>
            <a:ext cx="10985502" cy="3184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lvl1pPr>
          </a:lstStyle>
          <a:p>
            <a: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pPr>
            <a:endParaRPr/>
          </a:p>
        </p:txBody>
      </p:sp>
      <p:sp>
        <p:nvSpPr>
          <p:cNvPr id="1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03248" y="1287496"/>
            <a:ext cx="10985502" cy="2324101"/>
          </a:xfrm>
          <a:prstGeom prst="rect">
            <a:avLst/>
          </a:prstGeom>
        </p:spPr>
        <p:txBody>
          <a:bodyPr anchor="b"/>
          <a:lstStyle>
            <a:lvl1pPr>
              <a:defRPr sz="5800" spc="-116"/>
            </a:lvl1pPr>
          </a:lstStyle>
          <a:p>
            <a:r>
              <a:t>Текст заголовка</a:t>
            </a:r>
          </a:p>
        </p:txBody>
      </p:sp>
      <p:sp>
        <p:nvSpPr>
          <p:cNvPr id="13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00671" y="3611595"/>
            <a:ext cx="10985501" cy="952501"/>
          </a:xfrm>
          <a:prstGeom prst="rect">
            <a:avLst/>
          </a:prstGeom>
        </p:spPr>
        <p:txBody>
          <a:bodyPr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  <a:lvl2pPr marL="0" indent="2286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2pPr>
            <a:lvl3pPr marL="0" indent="4572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3pPr>
            <a:lvl4pPr marL="0" indent="6858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4pPr>
            <a:lvl5pPr marL="0" indent="9144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09714627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"/>
          <p:cNvSpPr txBox="1">
            <a:spLocks noGrp="1"/>
          </p:cNvSpPr>
          <p:nvPr>
            <p:ph type="body" sz="quarter" idx="13"/>
          </p:nvPr>
        </p:nvSpPr>
        <p:spPr>
          <a:xfrm>
            <a:off x="600671" y="5929933"/>
            <a:ext cx="10985502" cy="3184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lvl1pPr>
          </a:lstStyle>
          <a:p>
            <a: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pPr>
            <a:endParaRPr/>
          </a:p>
        </p:txBody>
      </p:sp>
      <p:sp>
        <p:nvSpPr>
          <p:cNvPr id="1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03249" y="1287498"/>
            <a:ext cx="10985502" cy="2324101"/>
          </a:xfrm>
          <a:prstGeom prst="rect">
            <a:avLst/>
          </a:prstGeom>
        </p:spPr>
        <p:txBody>
          <a:bodyPr anchor="b"/>
          <a:lstStyle>
            <a:lvl1pPr>
              <a:defRPr sz="4350" spc="-87"/>
            </a:lvl1pPr>
          </a:lstStyle>
          <a:p>
            <a:r>
              <a:t>Текст заголовка</a:t>
            </a:r>
          </a:p>
        </p:txBody>
      </p:sp>
      <p:sp>
        <p:nvSpPr>
          <p:cNvPr id="13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00673" y="3611597"/>
            <a:ext cx="10985501" cy="952501"/>
          </a:xfrm>
          <a:prstGeom prst="rect">
            <a:avLst/>
          </a:prstGeom>
        </p:spPr>
        <p:txBody>
          <a:bodyPr/>
          <a:lstStyle>
            <a:lvl1pPr marL="0" indent="0" defTabSz="309555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1pPr>
            <a:lvl2pPr marL="0" indent="171446" defTabSz="309555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2pPr>
            <a:lvl3pPr marL="0" indent="342892" defTabSz="309555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3pPr>
            <a:lvl4pPr marL="0" indent="514338" defTabSz="309555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4pPr>
            <a:lvl5pPr marL="0" indent="685783" defTabSz="309555">
              <a:lnSpc>
                <a:spcPct val="100000"/>
              </a:lnSpc>
              <a:spcBef>
                <a:spcPts val="0"/>
              </a:spcBef>
              <a:buSzTx/>
              <a:buNone/>
              <a:defRPr sz="2063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98022038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пункты и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Прямоугольник"/>
          <p:cNvSpPr txBox="1">
            <a:spLocks noGrp="1"/>
          </p:cNvSpPr>
          <p:nvPr>
            <p:ph type="body" sz="quarter" idx="13"/>
          </p:nvPr>
        </p:nvSpPr>
        <p:spPr>
          <a:xfrm>
            <a:off x="603250" y="1186481"/>
            <a:ext cx="4889500" cy="4673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pPr>
            <a:endParaRPr/>
          </a:p>
        </p:txBody>
      </p:sp>
      <p:sp>
        <p:nvSpPr>
          <p:cNvPr id="61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603250" y="2124252"/>
            <a:ext cx="4889500" cy="4128315"/>
          </a:xfrm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2" name="660384004_1290x1720.jpg"/>
          <p:cNvSpPr>
            <a:spLocks noGrp="1"/>
          </p:cNvSpPr>
          <p:nvPr>
            <p:ph type="pic" idx="14"/>
          </p:nvPr>
        </p:nvSpPr>
        <p:spPr>
          <a:xfrm>
            <a:off x="6096001" y="-203633"/>
            <a:ext cx="5458438" cy="7277916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 dirty="0"/>
          </a:p>
        </p:txBody>
      </p:sp>
      <p:sp>
        <p:nvSpPr>
          <p:cNvPr id="6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03250" y="539750"/>
            <a:ext cx="4889500" cy="717550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6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19765552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Разде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03249" y="2266950"/>
            <a:ext cx="10985502" cy="2324100"/>
          </a:xfrm>
          <a:prstGeom prst="rect">
            <a:avLst/>
          </a:prstGeom>
        </p:spPr>
        <p:txBody>
          <a:bodyPr anchor="ctr"/>
          <a:lstStyle>
            <a:lvl1pPr>
              <a:defRPr sz="4350" b="0" spc="-87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7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014330" y="6523452"/>
            <a:ext cx="208390" cy="206467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72145114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03250" y="539750"/>
            <a:ext cx="10985500" cy="717475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80" name="Прямоугольник"/>
          <p:cNvSpPr txBox="1">
            <a:spLocks noGrp="1"/>
          </p:cNvSpPr>
          <p:nvPr>
            <p:ph type="body" sz="quarter" idx="13"/>
          </p:nvPr>
        </p:nvSpPr>
        <p:spPr>
          <a:xfrm>
            <a:off x="603250" y="1186481"/>
            <a:ext cx="10985500" cy="4673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pPr>
            <a:endParaRPr/>
          </a:p>
        </p:txBody>
      </p:sp>
      <p:sp>
        <p:nvSpPr>
          <p:cNvPr id="8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24873926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овестка д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03250" y="539750"/>
            <a:ext cx="10985500" cy="717550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89" name="Прямоугольник"/>
          <p:cNvSpPr txBox="1">
            <a:spLocks noGrp="1"/>
          </p:cNvSpPr>
          <p:nvPr>
            <p:ph type="body" sz="quarter" idx="13"/>
          </p:nvPr>
        </p:nvSpPr>
        <p:spPr>
          <a:xfrm>
            <a:off x="603250" y="1186481"/>
            <a:ext cx="10985500" cy="4673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pPr>
            <a:endParaRPr/>
          </a:p>
        </p:txBody>
      </p:sp>
      <p:sp>
        <p:nvSpPr>
          <p:cNvPr id="90" name="Уровень текста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 marL="0" indent="0" defTabSz="309555">
              <a:lnSpc>
                <a:spcPct val="100000"/>
              </a:lnSpc>
              <a:spcBef>
                <a:spcPts val="675"/>
              </a:spcBef>
              <a:buSzTx/>
              <a:buNone/>
              <a:defRPr sz="2063" spc="-21"/>
            </a:lvl1pPr>
            <a:lvl2pPr marL="0" indent="171446" defTabSz="309555">
              <a:lnSpc>
                <a:spcPct val="100000"/>
              </a:lnSpc>
              <a:spcBef>
                <a:spcPts val="675"/>
              </a:spcBef>
              <a:buSzTx/>
              <a:buNone/>
              <a:defRPr sz="2063" spc="-21"/>
            </a:lvl2pPr>
            <a:lvl3pPr marL="0" indent="342892" defTabSz="309555">
              <a:lnSpc>
                <a:spcPct val="100000"/>
              </a:lnSpc>
              <a:spcBef>
                <a:spcPts val="675"/>
              </a:spcBef>
              <a:buSzTx/>
              <a:buNone/>
              <a:defRPr sz="2063" spc="-21"/>
            </a:lvl3pPr>
            <a:lvl4pPr marL="0" indent="514338" defTabSz="309555">
              <a:lnSpc>
                <a:spcPct val="100000"/>
              </a:lnSpc>
              <a:spcBef>
                <a:spcPts val="675"/>
              </a:spcBef>
              <a:buSzTx/>
              <a:buNone/>
              <a:defRPr sz="2063" spc="-21"/>
            </a:lvl4pPr>
            <a:lvl5pPr marL="0" indent="685783" defTabSz="309555">
              <a:lnSpc>
                <a:spcPct val="100000"/>
              </a:lnSpc>
              <a:spcBef>
                <a:spcPts val="675"/>
              </a:spcBef>
              <a:buSzTx/>
              <a:buNone/>
              <a:defRPr sz="2063" spc="-2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9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87006833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Важный фа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03250" y="537964"/>
            <a:ext cx="10985500" cy="3620792"/>
          </a:xfrm>
          <a:prstGeom prst="rect">
            <a:avLst/>
          </a:prstGeom>
        </p:spPr>
        <p:txBody>
          <a:bodyPr anchor="b"/>
          <a:lstStyle>
            <a:lvl1pPr marL="0" indent="0" algn="ctr">
              <a:lnSpc>
                <a:spcPct val="80000"/>
              </a:lnSpc>
              <a:spcBef>
                <a:spcPts val="0"/>
              </a:spcBef>
              <a:buSzTx/>
              <a:buNone/>
              <a:defRPr sz="9375" b="1" spc="-94"/>
            </a:lvl1pPr>
            <a:lvl2pPr marL="0" indent="171446" algn="ctr">
              <a:lnSpc>
                <a:spcPct val="80000"/>
              </a:lnSpc>
              <a:spcBef>
                <a:spcPts val="0"/>
              </a:spcBef>
              <a:buSzTx/>
              <a:buNone/>
              <a:defRPr sz="9375" b="1" spc="-94"/>
            </a:lvl2pPr>
            <a:lvl3pPr marL="0" indent="342892" algn="ctr">
              <a:lnSpc>
                <a:spcPct val="80000"/>
              </a:lnSpc>
              <a:spcBef>
                <a:spcPts val="0"/>
              </a:spcBef>
              <a:buSzTx/>
              <a:buNone/>
              <a:defRPr sz="9375" b="1" spc="-94"/>
            </a:lvl3pPr>
            <a:lvl4pPr marL="0" indent="514338" algn="ctr">
              <a:lnSpc>
                <a:spcPct val="80000"/>
              </a:lnSpc>
              <a:spcBef>
                <a:spcPts val="0"/>
              </a:spcBef>
              <a:buSzTx/>
              <a:buNone/>
              <a:defRPr sz="9375" b="1" spc="-94"/>
            </a:lvl4pPr>
            <a:lvl5pPr marL="0" indent="685783" algn="ctr">
              <a:lnSpc>
                <a:spcPct val="80000"/>
              </a:lnSpc>
              <a:spcBef>
                <a:spcPts val="0"/>
              </a:spcBef>
              <a:buSzTx/>
              <a:buNone/>
              <a:defRPr sz="9375" b="1" spc="-94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07" name="Прямоугольник"/>
          <p:cNvSpPr txBox="1">
            <a:spLocks noGrp="1"/>
          </p:cNvSpPr>
          <p:nvPr>
            <p:ph type="body" sz="quarter" idx="13"/>
          </p:nvPr>
        </p:nvSpPr>
        <p:spPr>
          <a:xfrm>
            <a:off x="603250" y="4131090"/>
            <a:ext cx="10985500" cy="4673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lvl1pPr>
          </a:lstStyle>
          <a:p>
            <a:pPr marL="0" indent="0" algn="ctr" defTabSz="825500">
              <a:lnSpc>
                <a:spcPct val="100000"/>
              </a:lnSpc>
              <a:spcBef>
                <a:spcPts val="0"/>
              </a:spcBef>
              <a:buSzTx/>
              <a:buNone/>
              <a:defRPr sz="5500" b="1"/>
            </a:pPr>
            <a:endParaRPr/>
          </a:p>
        </p:txBody>
      </p:sp>
      <p:sp>
        <p:nvSpPr>
          <p:cNvPr id="10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69148985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Прямоугольник"/>
          <p:cNvSpPr txBox="1">
            <a:spLocks noGrp="1"/>
          </p:cNvSpPr>
          <p:nvPr>
            <p:ph type="body" sz="quarter" idx="13"/>
          </p:nvPr>
        </p:nvSpPr>
        <p:spPr>
          <a:xfrm>
            <a:off x="1215014" y="5337729"/>
            <a:ext cx="10100026" cy="3184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lvl1pPr>
          </a:lstStyle>
          <a:p>
            <a:pPr marL="0" indent="0" defTabSz="825500">
              <a:lnSpc>
                <a:spcPct val="100000"/>
              </a:lnSpc>
              <a:spcBef>
                <a:spcPts val="0"/>
              </a:spcBef>
              <a:buSzTx/>
              <a:buNone/>
              <a:defRPr sz="3600" b="1"/>
            </a:pPr>
            <a:endParaRPr/>
          </a:p>
        </p:txBody>
      </p:sp>
      <p:sp>
        <p:nvSpPr>
          <p:cNvPr id="116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876962" y="2469930"/>
            <a:ext cx="10438078" cy="1918140"/>
          </a:xfrm>
          <a:prstGeom prst="rect">
            <a:avLst/>
          </a:prstGeom>
        </p:spPr>
        <p:txBody>
          <a:bodyPr/>
          <a:lstStyle>
            <a:lvl1pPr marL="239590" indent="-176208">
              <a:spcBef>
                <a:spcPts val="0"/>
              </a:spcBef>
              <a:buSzTx/>
              <a:buNone/>
              <a:defRPr sz="3188" spc="-64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  <a:lvl2pPr marL="239590" indent="-4763">
              <a:spcBef>
                <a:spcPts val="0"/>
              </a:spcBef>
              <a:buSzTx/>
              <a:buNone/>
              <a:defRPr sz="3188" spc="-64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239590" indent="166684">
              <a:spcBef>
                <a:spcPts val="0"/>
              </a:spcBef>
              <a:buSzTx/>
              <a:buNone/>
              <a:defRPr sz="3188" spc="-64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239590" indent="338129">
              <a:spcBef>
                <a:spcPts val="0"/>
              </a:spcBef>
              <a:buSzTx/>
              <a:buNone/>
              <a:defRPr sz="3188" spc="-64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239590" indent="509575">
              <a:spcBef>
                <a:spcPts val="0"/>
              </a:spcBef>
              <a:buSzTx/>
              <a:buNone/>
              <a:defRPr sz="3188" spc="-64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1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02231573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02783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 (3 шт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Изображение"/>
          <p:cNvSpPr>
            <a:spLocks noGrp="1"/>
          </p:cNvSpPr>
          <p:nvPr>
            <p:ph type="pic" sz="quarter" idx="13"/>
          </p:nvPr>
        </p:nvSpPr>
        <p:spPr>
          <a:xfrm>
            <a:off x="7880351" y="508000"/>
            <a:ext cx="3719550" cy="297483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 dirty="0"/>
          </a:p>
        </p:txBody>
      </p:sp>
      <p:sp>
        <p:nvSpPr>
          <p:cNvPr id="125" name="Изображение"/>
          <p:cNvSpPr>
            <a:spLocks noGrp="1"/>
          </p:cNvSpPr>
          <p:nvPr>
            <p:ph type="pic" sz="half" idx="14"/>
          </p:nvPr>
        </p:nvSpPr>
        <p:spPr>
          <a:xfrm>
            <a:off x="6750050" y="1989140"/>
            <a:ext cx="5219700" cy="607509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 dirty="0"/>
          </a:p>
        </p:txBody>
      </p:sp>
      <p:sp>
        <p:nvSpPr>
          <p:cNvPr id="126" name="Изображение"/>
          <p:cNvSpPr>
            <a:spLocks noGrp="1"/>
          </p:cNvSpPr>
          <p:nvPr>
            <p:ph type="pic" idx="15"/>
          </p:nvPr>
        </p:nvSpPr>
        <p:spPr>
          <a:xfrm>
            <a:off x="-69850" y="247650"/>
            <a:ext cx="8305800" cy="622935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 dirty="0"/>
          </a:p>
        </p:txBody>
      </p:sp>
      <p:sp>
        <p:nvSpPr>
          <p:cNvPr id="12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83548000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Изображение"/>
          <p:cNvSpPr>
            <a:spLocks noGrp="1"/>
          </p:cNvSpPr>
          <p:nvPr>
            <p:ph type="pic" idx="13"/>
          </p:nvPr>
        </p:nvSpPr>
        <p:spPr>
          <a:xfrm>
            <a:off x="-666750" y="-2762250"/>
            <a:ext cx="13525500" cy="108204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 dirty="0"/>
          </a:p>
        </p:txBody>
      </p:sp>
      <p:sp>
        <p:nvSpPr>
          <p:cNvPr id="13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00864305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603180" y="1287540"/>
            <a:ext cx="10985400" cy="23239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ru-RU" sz="1200" b="0" strike="noStrike" spc="-1">
              <a:solidFill>
                <a:srgbClr val="5E5E5E"/>
              </a:solidFill>
              <a:latin typeface="Helvetica Neue"/>
            </a:endParaRPr>
          </a:p>
        </p:txBody>
      </p:sp>
      <p:sp>
        <p:nvSpPr>
          <p:cNvPr id="5" name="PlaceHolder 2"/>
          <p:cNvSpPr>
            <a:spLocks noGrp="1"/>
          </p:cNvSpPr>
          <p:nvPr>
            <p:ph type="subTitle"/>
          </p:nvPr>
        </p:nvSpPr>
        <p:spPr>
          <a:xfrm>
            <a:off x="600660" y="5929920"/>
            <a:ext cx="10985400" cy="31824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ru-RU" sz="16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27384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36726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24082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09316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80022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05842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08934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63781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102AAB-7BD2-4D61-A36C-DEF68815108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4202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8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14726EFE-A1ED-8248-A506-E2E3E49092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060" y="794"/>
          <a:ext cx="818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1" name="Слайд think-cell" r:id="rId14" imgW="7772400" imgH="10058400" progId="TCLayout.ActiveDocument.1">
                  <p:embed/>
                </p:oleObj>
              </mc:Choice>
              <mc:Fallback>
                <p:oleObj name="Слайд think-cell" r:id="rId14" imgW="7772400" imgH="1005840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14726EFE-A1ED-8248-A506-E2E3E49092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060" y="794"/>
                        <a:ext cx="818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03250" y="539752"/>
            <a:ext cx="10985500" cy="7165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03250" y="2124252"/>
            <a:ext cx="10985500" cy="41280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014330" y="6521335"/>
            <a:ext cx="208390" cy="206467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defTabSz="219070">
              <a:defRPr sz="675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57855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81" r:id="rId10"/>
  </p:sldLayoutIdLst>
  <p:transition spd="med"/>
  <p:hf sldNum="0" hdr="0" ftr="0" dt="0"/>
  <p:txStyles>
    <p:titleStyle>
      <a:lvl1pPr marL="0" marR="0" indent="0" algn="l" defTabSz="914355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88" b="1" i="0" u="none" strike="noStrike" cap="none" spc="-64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171446" algn="l" defTabSz="914355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88" b="1" i="0" u="none" strike="noStrike" cap="none" spc="-64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342892" algn="l" defTabSz="914355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88" b="1" i="0" u="none" strike="noStrike" cap="none" spc="-64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514338" algn="l" defTabSz="914355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88" b="1" i="0" u="none" strike="noStrike" cap="none" spc="-64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685783" algn="l" defTabSz="914355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88" b="1" i="0" u="none" strike="noStrike" cap="none" spc="-64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857229" algn="l" defTabSz="914355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88" b="1" i="0" u="none" strike="noStrike" cap="none" spc="-64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1028674" algn="l" defTabSz="914355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88" b="1" i="0" u="none" strike="noStrike" cap="none" spc="-64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1200120" algn="l" defTabSz="914355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88" b="1" i="0" u="none" strike="noStrike" cap="none" spc="-64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1371566" algn="l" defTabSz="914355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188" b="1" i="0" u="none" strike="noStrike" cap="none" spc="-64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9pPr>
    </p:titleStyle>
    <p:bodyStyle>
      <a:lvl1pPr marL="228595" marR="0" indent="-228595" algn="l" defTabSz="914355" rtl="0" latinLnBrk="0">
        <a:lnSpc>
          <a:spcPct val="90000"/>
        </a:lnSpc>
        <a:spcBef>
          <a:spcPts val="1688"/>
        </a:spcBef>
        <a:spcAft>
          <a:spcPts val="0"/>
        </a:spcAft>
        <a:buClrTx/>
        <a:buSzPct val="123000"/>
        <a:buFontTx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1pPr>
      <a:lvl2pPr marL="457189" marR="0" indent="-228595" algn="l" defTabSz="914355" rtl="0" latinLnBrk="0">
        <a:lnSpc>
          <a:spcPct val="90000"/>
        </a:lnSpc>
        <a:spcBef>
          <a:spcPts val="1688"/>
        </a:spcBef>
        <a:spcAft>
          <a:spcPts val="0"/>
        </a:spcAft>
        <a:buClrTx/>
        <a:buSzPct val="123000"/>
        <a:buFontTx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2pPr>
      <a:lvl3pPr marL="685783" marR="0" indent="-228595" algn="l" defTabSz="914355" rtl="0" latinLnBrk="0">
        <a:lnSpc>
          <a:spcPct val="90000"/>
        </a:lnSpc>
        <a:spcBef>
          <a:spcPts val="1688"/>
        </a:spcBef>
        <a:spcAft>
          <a:spcPts val="0"/>
        </a:spcAft>
        <a:buClrTx/>
        <a:buSzPct val="123000"/>
        <a:buFontTx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3pPr>
      <a:lvl4pPr marL="914377" marR="0" indent="-228595" algn="l" defTabSz="914355" rtl="0" latinLnBrk="0">
        <a:lnSpc>
          <a:spcPct val="90000"/>
        </a:lnSpc>
        <a:spcBef>
          <a:spcPts val="1688"/>
        </a:spcBef>
        <a:spcAft>
          <a:spcPts val="0"/>
        </a:spcAft>
        <a:buClrTx/>
        <a:buSzPct val="123000"/>
        <a:buFontTx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4pPr>
      <a:lvl5pPr marL="1142972" marR="0" indent="-228595" algn="l" defTabSz="914355" rtl="0" latinLnBrk="0">
        <a:lnSpc>
          <a:spcPct val="90000"/>
        </a:lnSpc>
        <a:spcBef>
          <a:spcPts val="1688"/>
        </a:spcBef>
        <a:spcAft>
          <a:spcPts val="0"/>
        </a:spcAft>
        <a:buClrTx/>
        <a:buSzPct val="123000"/>
        <a:buFontTx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5pPr>
      <a:lvl6pPr marL="1371566" marR="0" indent="-228595" algn="l" defTabSz="914355" rtl="0" latinLnBrk="0">
        <a:lnSpc>
          <a:spcPct val="90000"/>
        </a:lnSpc>
        <a:spcBef>
          <a:spcPts val="1688"/>
        </a:spcBef>
        <a:spcAft>
          <a:spcPts val="0"/>
        </a:spcAft>
        <a:buClrTx/>
        <a:buSzPct val="123000"/>
        <a:buFontTx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6pPr>
      <a:lvl7pPr marL="1600160" marR="0" indent="-228595" algn="l" defTabSz="914355" rtl="0" latinLnBrk="0">
        <a:lnSpc>
          <a:spcPct val="90000"/>
        </a:lnSpc>
        <a:spcBef>
          <a:spcPts val="1688"/>
        </a:spcBef>
        <a:spcAft>
          <a:spcPts val="0"/>
        </a:spcAft>
        <a:buClrTx/>
        <a:buSzPct val="123000"/>
        <a:buFontTx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7pPr>
      <a:lvl8pPr marL="1828755" marR="0" indent="-228595" algn="l" defTabSz="914355" rtl="0" latinLnBrk="0">
        <a:lnSpc>
          <a:spcPct val="90000"/>
        </a:lnSpc>
        <a:spcBef>
          <a:spcPts val="1688"/>
        </a:spcBef>
        <a:spcAft>
          <a:spcPts val="0"/>
        </a:spcAft>
        <a:buClrTx/>
        <a:buSzPct val="123000"/>
        <a:buFontTx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8pPr>
      <a:lvl9pPr marL="2057349" marR="0" indent="-228595" algn="l" defTabSz="914355" rtl="0" latinLnBrk="0">
        <a:lnSpc>
          <a:spcPct val="90000"/>
        </a:lnSpc>
        <a:spcBef>
          <a:spcPts val="1688"/>
        </a:spcBef>
        <a:spcAft>
          <a:spcPts val="0"/>
        </a:spcAft>
        <a:buClrTx/>
        <a:buSzPct val="123000"/>
        <a:buFontTx/>
        <a:buChar char="•"/>
        <a:tabLst/>
        <a:defRPr sz="18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9pPr>
    </p:bodyStyle>
    <p:otherStyle>
      <a:lvl1pPr marL="0" marR="0" indent="0" algn="ctr" defTabSz="2190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171446" algn="ctr" defTabSz="2190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342892" algn="ctr" defTabSz="2190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514338" algn="ctr" defTabSz="2190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685783" algn="ctr" defTabSz="2190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857229" algn="ctr" defTabSz="2190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1028674" algn="ctr" defTabSz="2190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1200120" algn="ctr" defTabSz="2190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1371566" algn="ctr" defTabSz="21907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emf"/><Relationship Id="rId12" Type="http://schemas.openxmlformats.org/officeDocument/2006/relationships/image" Target="../media/image10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9.png"/><Relationship Id="rId5" Type="http://schemas.openxmlformats.org/officeDocument/2006/relationships/image" Target="../media/image5.png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1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6.png"/><Relationship Id="rId12" Type="http://schemas.openxmlformats.org/officeDocument/2006/relationships/image" Target="../media/image14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11" Type="http://schemas.openxmlformats.org/officeDocument/2006/relationships/image" Target="../media/image8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8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6.png"/><Relationship Id="rId12" Type="http://schemas.openxmlformats.org/officeDocument/2006/relationships/image" Target="../media/image17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11" Type="http://schemas.openxmlformats.org/officeDocument/2006/relationships/image" Target="../media/image16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5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3" name="luca-bravo-SkpE62Bs1H4-unsplash (3) копия.jpg" descr="luca-bravo-SkpE62Bs1H4-unsplash (3) копия.jpg"/>
          <p:cNvPicPr>
            <a:picLocks noChangeAspect="1"/>
          </p:cNvPicPr>
          <p:nvPr/>
        </p:nvPicPr>
        <p:blipFill rotWithShape="1">
          <a:blip r:embed="rId2"/>
          <a:srcRect l="29912"/>
          <a:stretch/>
        </p:blipFill>
        <p:spPr>
          <a:xfrm flipH="1">
            <a:off x="4982081" y="-1"/>
            <a:ext cx="7209919" cy="6858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1714" name="Изображение" descr="Изображение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832" y="522068"/>
            <a:ext cx="2455490" cy="593945"/>
          </a:xfrm>
          <a:prstGeom prst="rect">
            <a:avLst/>
          </a:prstGeom>
          <a:ln w="12700">
            <a:miter lim="400000"/>
          </a:ln>
        </p:spPr>
      </p:pic>
      <p:sp>
        <p:nvSpPr>
          <p:cNvPr id="1715" name="Название презентации…"/>
          <p:cNvSpPr txBox="1">
            <a:spLocks noGrp="1"/>
          </p:cNvSpPr>
          <p:nvPr>
            <p:ph type="ctrTitle"/>
          </p:nvPr>
        </p:nvSpPr>
        <p:spPr>
          <a:xfrm>
            <a:off x="669980" y="1695009"/>
            <a:ext cx="8867719" cy="3467982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>
              <a:defRPr sz="14100" b="0" spc="0">
                <a:latin typeface="Stem"/>
                <a:ea typeface="Stem"/>
                <a:cs typeface="Stem"/>
                <a:sym typeface="Stem"/>
              </a:defRPr>
            </a:pPr>
            <a:r>
              <a:rPr lang="ru-RU" sz="6600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cs typeface="Verdana"/>
                <a:sym typeface="Stem"/>
              </a:rPr>
              <a:t>Механизм соглашений о защите и поощрении капиталовложений</a:t>
            </a:r>
            <a:endParaRPr sz="6600" spc="-10" dirty="0">
              <a:solidFill>
                <a:schemeClr val="bg2">
                  <a:lumMod val="10000"/>
                </a:schemeClr>
              </a:solidFill>
              <a:latin typeface="Stem Medium" panose="020B0503020203020204"/>
              <a:cs typeface="Verdana"/>
            </a:endParaRPr>
          </a:p>
        </p:txBody>
      </p:sp>
      <p:sp>
        <p:nvSpPr>
          <p:cNvPr id="1719" name="Прямоугольник"/>
          <p:cNvSpPr/>
          <p:nvPr/>
        </p:nvSpPr>
        <p:spPr>
          <a:xfrm>
            <a:off x="734909" y="4985243"/>
            <a:ext cx="1846476" cy="68705"/>
          </a:xfrm>
          <a:prstGeom prst="rect">
            <a:avLst/>
          </a:prstGeom>
          <a:gradFill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</a:gradFill>
          <a:ln w="12700">
            <a:miter lim="400000"/>
          </a:ln>
        </p:spPr>
        <p:txBody>
          <a:bodyPr lIns="25400" tIns="25400" rIns="25400" bIns="25400" anchor="ctr"/>
          <a:lstStyle/>
          <a:p>
            <a:pPr defTabSz="41275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/>
          </a:p>
        </p:txBody>
      </p:sp>
    </p:spTree>
    <p:extLst>
      <p:ext uri="{BB962C8B-B14F-4D97-AF65-F5344CB8AC3E}">
        <p14:creationId xmlns:p14="http://schemas.microsoft.com/office/powerpoint/2010/main" val="393385183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454" y="1356253"/>
            <a:ext cx="3217335" cy="2056515"/>
          </a:xfrm>
          <a:prstGeom prst="rect">
            <a:avLst/>
          </a:prstGeom>
        </p:spPr>
      </p:pic>
      <p:sp>
        <p:nvSpPr>
          <p:cNvPr id="90" name="CustomShape 6"/>
          <p:cNvSpPr/>
          <p:nvPr/>
        </p:nvSpPr>
        <p:spPr>
          <a:xfrm>
            <a:off x="3358869" y="1967217"/>
            <a:ext cx="6316051" cy="783603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noFill/>
            <a:miter lim="400000"/>
          </a:ln>
        </p:spPr>
      </p:sp>
      <p:sp>
        <p:nvSpPr>
          <p:cNvPr id="89" name="CustomShape 6"/>
          <p:cNvSpPr/>
          <p:nvPr/>
        </p:nvSpPr>
        <p:spPr>
          <a:xfrm>
            <a:off x="3329138" y="1025506"/>
            <a:ext cx="6316051" cy="760108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noFill/>
            <a:miter lim="400000"/>
          </a:ln>
        </p:spPr>
      </p:sp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956061D0-605A-B447-A096-03350A1445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795" y="794"/>
          <a:ext cx="61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8" name="Слайд think-cell" r:id="rId6" imgW="7772400" imgH="10058400" progId="TCLayout.ActiveDocument.1">
                  <p:embed/>
                </p:oleObj>
              </mc:Choice>
              <mc:Fallback>
                <p:oleObj name="Слайд think-cell" r:id="rId6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956061D0-605A-B447-A096-03350A144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4795" y="794"/>
                        <a:ext cx="61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Главная мысль слайда">
            <a:extLst>
              <a:ext uri="{FF2B5EF4-FFF2-40B4-BE49-F238E27FC236}">
                <a16:creationId xmlns:a16="http://schemas.microsoft.com/office/drawing/2014/main" id="{091FF344-9909-814A-981B-164E19681488}"/>
              </a:ext>
            </a:extLst>
          </p:cNvPr>
          <p:cNvSpPr txBox="1">
            <a:spLocks/>
          </p:cNvSpPr>
          <p:nvPr/>
        </p:nvSpPr>
        <p:spPr>
          <a:xfrm>
            <a:off x="360001" y="209295"/>
            <a:ext cx="10867996" cy="5686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5400" tIns="25400" rIns="25400" bIns="25400" anchor="ctr">
            <a:noAutofit/>
          </a:bodyPr>
          <a:lstStyle>
            <a:lvl1pPr marL="0" marR="0" indent="0" algn="l" defTabSz="1828754" rtl="0" latinLnBrk="0">
              <a:lnSpc>
                <a:spcPct val="80000"/>
              </a:lnSpc>
              <a:spcBef>
                <a:spcPts val="4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0" i="0" u="none" strike="noStrike" cap="none" spc="0" baseline="0">
                <a:solidFill>
                  <a:srgbClr val="000000"/>
                </a:solidFill>
                <a:uFillTx/>
                <a:latin typeface="Stem"/>
                <a:ea typeface="Stem"/>
                <a:cs typeface="Stem"/>
                <a:sym typeface="Stem"/>
              </a:defRPr>
            </a:lvl1pPr>
            <a:lvl2pPr marL="0" marR="0" indent="3429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6858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10287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13716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17145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20574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24003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27432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marL="6350" defTabSz="914377">
              <a:spcBef>
                <a:spcPts val="50"/>
              </a:spcBef>
            </a:pPr>
            <a:r>
              <a:rPr lang="ru-RU" sz="2400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Правовое регулирование и цели СЗПК </a:t>
            </a:r>
          </a:p>
        </p:txBody>
      </p:sp>
      <p:pic>
        <p:nvPicPr>
          <p:cNvPr id="57" name="object 4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11367401" y="108262"/>
            <a:ext cx="800906" cy="834507"/>
          </a:xfrm>
          <a:prstGeom prst="rect">
            <a:avLst/>
          </a:prstGeom>
        </p:spPr>
      </p:pic>
      <p:pic>
        <p:nvPicPr>
          <p:cNvPr id="97" name="object 6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360001" y="745176"/>
            <a:ext cx="1384857" cy="51528"/>
          </a:xfrm>
          <a:prstGeom prst="rect">
            <a:avLst/>
          </a:prstGeom>
        </p:spPr>
      </p:pic>
      <p:sp>
        <p:nvSpPr>
          <p:cNvPr id="65" name="TextBox 64"/>
          <p:cNvSpPr txBox="1"/>
          <p:nvPr/>
        </p:nvSpPr>
        <p:spPr>
          <a:xfrm>
            <a:off x="2315639" y="4462006"/>
            <a:ext cx="963017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spc="-10" dirty="0">
                <a:latin typeface="Stem Medium" panose="020B0503020203020204"/>
                <a:ea typeface="+mj-ea"/>
                <a:cs typeface="Verdana"/>
              </a:rPr>
              <a:t>Федеральный закон от 1 апреля 2020 г. № 69-ФЗ «О защите и поощрении капиталовложений в Российской Федерации»</a:t>
            </a:r>
          </a:p>
          <a:p>
            <a:endParaRPr lang="ru-RU" sz="1200" b="1" spc="-10" dirty="0">
              <a:latin typeface="Stem Medium" panose="020B0503020203020204"/>
              <a:ea typeface="+mj-ea"/>
              <a:cs typeface="Verdana"/>
              <a:sym typeface="Stem"/>
            </a:endParaRPr>
          </a:p>
          <a:p>
            <a:pPr algn="just"/>
            <a:r>
              <a:rPr lang="ru-RU" sz="1200" b="1" spc="-10" dirty="0">
                <a:latin typeface="Stem Medium" panose="020B0503020203020204"/>
                <a:ea typeface="+mj-ea"/>
                <a:cs typeface="Verdana"/>
              </a:rPr>
              <a:t>Постановление Правительства РФ от </a:t>
            </a:r>
            <a:r>
              <a:rPr lang="ru-RU" sz="1200" b="1" spc="-10" dirty="0" smtClean="0">
                <a:latin typeface="Stem Medium" panose="020B0503020203020204"/>
                <a:ea typeface="+mj-ea"/>
                <a:cs typeface="Verdana"/>
              </a:rPr>
              <a:t>13 сентября 2022 г. N 1602 </a:t>
            </a:r>
            <a:r>
              <a:rPr lang="ru-RU" sz="1200" b="1" spc="-10" dirty="0">
                <a:latin typeface="Stem Medium" panose="020B0503020203020204"/>
                <a:ea typeface="+mj-ea"/>
                <a:cs typeface="Verdana"/>
              </a:rPr>
              <a:t>«О </a:t>
            </a:r>
            <a:r>
              <a:rPr lang="ru-RU" sz="1200" b="1" spc="-10" dirty="0" smtClean="0">
                <a:latin typeface="Stem Medium" panose="020B0503020203020204"/>
                <a:ea typeface="+mj-ea"/>
                <a:cs typeface="Verdana"/>
              </a:rPr>
              <a:t>соглашениях </a:t>
            </a:r>
            <a:r>
              <a:rPr lang="ru-RU" sz="1200" b="1" spc="-10" dirty="0">
                <a:latin typeface="Stem Medium" panose="020B0503020203020204"/>
                <a:ea typeface="+mj-ea"/>
                <a:cs typeface="Verdana"/>
              </a:rPr>
              <a:t>о защите и поощрении </a:t>
            </a:r>
            <a:r>
              <a:rPr lang="ru-RU" sz="1200" b="1" spc="-10" dirty="0" smtClean="0">
                <a:latin typeface="Stem Medium" panose="020B0503020203020204"/>
                <a:ea typeface="+mj-ea"/>
                <a:cs typeface="Verdana"/>
              </a:rPr>
              <a:t>капиталовложений»</a:t>
            </a:r>
          </a:p>
          <a:p>
            <a:pPr algn="just"/>
            <a:endParaRPr lang="ru-RU" sz="1200" b="1" spc="-10" dirty="0">
              <a:latin typeface="Stem Medium" panose="020B0503020203020204"/>
              <a:ea typeface="+mj-ea"/>
              <a:cs typeface="Verdana"/>
            </a:endParaRPr>
          </a:p>
          <a:p>
            <a:r>
              <a:rPr lang="ru-RU" sz="1200" b="1" spc="-10" dirty="0">
                <a:latin typeface="Stem Medium" panose="020B0503020203020204"/>
                <a:ea typeface="+mj-ea"/>
                <a:cs typeface="Verdana"/>
              </a:rPr>
              <a:t>Налоговый кодекс Российской Федерации</a:t>
            </a:r>
            <a:endParaRPr lang="en-US" sz="1200" b="1" spc="-10" dirty="0">
              <a:latin typeface="Stem Medium" panose="020B0503020203020204"/>
              <a:ea typeface="+mj-ea"/>
              <a:cs typeface="Verdana"/>
            </a:endParaRPr>
          </a:p>
          <a:p>
            <a:endParaRPr lang="en-US" sz="1200" b="1" spc="-10" dirty="0">
              <a:latin typeface="Stem Medium" panose="020B0503020203020204"/>
              <a:ea typeface="+mj-ea"/>
              <a:cs typeface="Verdana"/>
            </a:endParaRPr>
          </a:p>
          <a:p>
            <a:r>
              <a:rPr lang="ru-RU" sz="1200" b="1" spc="-10" dirty="0">
                <a:latin typeface="Stem Medium" panose="020B0503020203020204"/>
                <a:ea typeface="+mj-ea"/>
                <a:cs typeface="Verdana"/>
              </a:rPr>
              <a:t>Бюджетный кодекс Российской Федерации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3489767" y="1058180"/>
            <a:ext cx="5902423" cy="715089"/>
          </a:xfrm>
          <a:prstGeom prst="roundRect">
            <a:avLst/>
          </a:prstGeom>
          <a:noFill/>
          <a:ln>
            <a:noFill/>
            <a:prstDash val="dashDot"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pc="-1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defRPr>
            </a:lvl1pPr>
          </a:lstStyle>
          <a:p>
            <a:pPr algn="ctr"/>
            <a:r>
              <a:rPr lang="ru-RU" b="1" dirty="0">
                <a:solidFill>
                  <a:schemeClr val="bg1"/>
                </a:solidFill>
              </a:rPr>
              <a:t>Привлечение частных инвестиций</a:t>
            </a:r>
          </a:p>
          <a:p>
            <a:pPr algn="ctr"/>
            <a:r>
              <a:rPr lang="ru-RU" b="1" dirty="0">
                <a:solidFill>
                  <a:schemeClr val="bg1"/>
                </a:solidFill>
              </a:rPr>
              <a:t>в экономику Российской Федерации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4085027" y="1977041"/>
            <a:ext cx="5300993" cy="715089"/>
          </a:xfrm>
          <a:prstGeom prst="roundRect">
            <a:avLst/>
          </a:prstGeom>
          <a:noFill/>
          <a:ln>
            <a:noFill/>
            <a:prstDash val="dashDot"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pc="-10">
                <a:solidFill>
                  <a:schemeClr val="bg1"/>
                </a:solidFill>
                <a:latin typeface="Stem Medium" panose="020B0503020203020204"/>
                <a:ea typeface="+mj-ea"/>
                <a:cs typeface="Verdana"/>
              </a:defRPr>
            </a:lvl1pPr>
          </a:lstStyle>
          <a:p>
            <a:pPr algn="ctr"/>
            <a:r>
              <a:rPr lang="ru-RU" b="1" dirty="0"/>
              <a:t>Создание прогнозируемых условий</a:t>
            </a:r>
          </a:p>
          <a:p>
            <a:pPr algn="ctr"/>
            <a:r>
              <a:rPr lang="ru-RU" b="1" dirty="0"/>
              <a:t>для реализации новых инвестиционных проектов</a:t>
            </a:r>
          </a:p>
        </p:txBody>
      </p:sp>
      <p:sp>
        <p:nvSpPr>
          <p:cNvPr id="25" name="CustomShape 6"/>
          <p:cNvSpPr/>
          <p:nvPr/>
        </p:nvSpPr>
        <p:spPr>
          <a:xfrm>
            <a:off x="3358869" y="2932423"/>
            <a:ext cx="6299380" cy="777253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noFill/>
            <a:miter lim="400000"/>
          </a:ln>
        </p:spPr>
      </p:sp>
      <p:sp>
        <p:nvSpPr>
          <p:cNvPr id="26" name="TextBox 25"/>
          <p:cNvSpPr txBox="1"/>
          <p:nvPr/>
        </p:nvSpPr>
        <p:spPr>
          <a:xfrm>
            <a:off x="3485118" y="3116739"/>
            <a:ext cx="5900902" cy="408623"/>
          </a:xfrm>
          <a:prstGeom prst="roundRect">
            <a:avLst/>
          </a:prstGeom>
          <a:noFill/>
          <a:ln>
            <a:noFill/>
            <a:prstDash val="dashDot"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pc="-10">
                <a:solidFill>
                  <a:schemeClr val="bg1"/>
                </a:solidFill>
                <a:latin typeface="Stem Medium" panose="020B0503020203020204"/>
                <a:ea typeface="+mj-ea"/>
                <a:cs typeface="Verdana"/>
              </a:defRPr>
            </a:lvl1pPr>
          </a:lstStyle>
          <a:p>
            <a:pPr algn="ctr"/>
            <a:r>
              <a:rPr lang="ru-RU" b="1" dirty="0"/>
              <a:t>Создание объектов инфраструктуры</a:t>
            </a:r>
          </a:p>
        </p:txBody>
      </p:sp>
      <p:pic>
        <p:nvPicPr>
          <p:cNvPr id="27" name="Изображение" descr="Изображение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598733" y="1204189"/>
            <a:ext cx="403989" cy="402741"/>
          </a:xfrm>
          <a:prstGeom prst="rect">
            <a:avLst/>
          </a:prstGeom>
          <a:ln w="12700">
            <a:miter lim="400000"/>
          </a:ln>
        </p:spPr>
      </p:pic>
      <p:pic>
        <p:nvPicPr>
          <p:cNvPr id="29" name="Рисунок 60" descr="Рисунок 6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545781" y="3015466"/>
            <a:ext cx="509895" cy="509896"/>
          </a:xfrm>
          <a:prstGeom prst="rect">
            <a:avLst/>
          </a:prstGeom>
          <a:ln w="12700">
            <a:miter lim="400000"/>
          </a:ln>
        </p:spPr>
      </p:pic>
      <p:sp>
        <p:nvSpPr>
          <p:cNvPr id="32" name="Открытая книга"/>
          <p:cNvSpPr/>
          <p:nvPr/>
        </p:nvSpPr>
        <p:spPr>
          <a:xfrm>
            <a:off x="888520" y="4460403"/>
            <a:ext cx="1130857" cy="7672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74" y="0"/>
                </a:moveTo>
                <a:lnTo>
                  <a:pt x="12381" y="2366"/>
                </a:lnTo>
                <a:lnTo>
                  <a:pt x="12373" y="2368"/>
                </a:lnTo>
                <a:cubicBezTo>
                  <a:pt x="11868" y="2611"/>
                  <a:pt x="11498" y="3043"/>
                  <a:pt x="11273" y="3649"/>
                </a:cubicBezTo>
                <a:cubicBezTo>
                  <a:pt x="11070" y="4192"/>
                  <a:pt x="11055" y="4701"/>
                  <a:pt x="11055" y="4845"/>
                </a:cubicBezTo>
                <a:lnTo>
                  <a:pt x="11055" y="5127"/>
                </a:lnTo>
                <a:lnTo>
                  <a:pt x="20346" y="1249"/>
                </a:lnTo>
                <a:lnTo>
                  <a:pt x="19907" y="1017"/>
                </a:lnTo>
                <a:lnTo>
                  <a:pt x="11770" y="4414"/>
                </a:lnTo>
                <a:cubicBezTo>
                  <a:pt x="12018" y="4052"/>
                  <a:pt x="12419" y="3735"/>
                  <a:pt x="12972" y="3468"/>
                </a:cubicBezTo>
                <a:lnTo>
                  <a:pt x="19369" y="735"/>
                </a:lnTo>
                <a:lnTo>
                  <a:pt x="18934" y="505"/>
                </a:lnTo>
                <a:lnTo>
                  <a:pt x="12837" y="3109"/>
                </a:lnTo>
                <a:lnTo>
                  <a:pt x="12830" y="3113"/>
                </a:lnTo>
                <a:cubicBezTo>
                  <a:pt x="12227" y="3403"/>
                  <a:pt x="11780" y="3756"/>
                  <a:pt x="11494" y="4167"/>
                </a:cubicBezTo>
                <a:cubicBezTo>
                  <a:pt x="11607" y="3668"/>
                  <a:pt x="11876" y="3033"/>
                  <a:pt x="12515" y="2723"/>
                </a:cubicBezTo>
                <a:lnTo>
                  <a:pt x="18411" y="230"/>
                </a:lnTo>
                <a:lnTo>
                  <a:pt x="17974" y="0"/>
                </a:lnTo>
                <a:close/>
                <a:moveTo>
                  <a:pt x="3633" y="2"/>
                </a:moveTo>
                <a:lnTo>
                  <a:pt x="3194" y="231"/>
                </a:lnTo>
                <a:lnTo>
                  <a:pt x="9084" y="2723"/>
                </a:lnTo>
                <a:cubicBezTo>
                  <a:pt x="9723" y="3033"/>
                  <a:pt x="9992" y="3668"/>
                  <a:pt x="10105" y="4167"/>
                </a:cubicBezTo>
                <a:cubicBezTo>
                  <a:pt x="9819" y="3756"/>
                  <a:pt x="9371" y="3403"/>
                  <a:pt x="8768" y="3113"/>
                </a:cubicBezTo>
                <a:lnTo>
                  <a:pt x="2670" y="507"/>
                </a:lnTo>
                <a:lnTo>
                  <a:pt x="2233" y="736"/>
                </a:lnTo>
                <a:lnTo>
                  <a:pt x="8626" y="3468"/>
                </a:lnTo>
                <a:cubicBezTo>
                  <a:pt x="9179" y="3735"/>
                  <a:pt x="9581" y="4051"/>
                  <a:pt x="9828" y="4414"/>
                </a:cubicBezTo>
                <a:lnTo>
                  <a:pt x="1694" y="1019"/>
                </a:lnTo>
                <a:lnTo>
                  <a:pt x="1254" y="1250"/>
                </a:lnTo>
                <a:lnTo>
                  <a:pt x="10543" y="5127"/>
                </a:lnTo>
                <a:lnTo>
                  <a:pt x="10543" y="4845"/>
                </a:lnTo>
                <a:cubicBezTo>
                  <a:pt x="10544" y="4701"/>
                  <a:pt x="10528" y="4192"/>
                  <a:pt x="10326" y="3649"/>
                </a:cubicBezTo>
                <a:cubicBezTo>
                  <a:pt x="10100" y="3043"/>
                  <a:pt x="9730" y="2611"/>
                  <a:pt x="9226" y="2368"/>
                </a:cubicBezTo>
                <a:lnTo>
                  <a:pt x="3633" y="2"/>
                </a:lnTo>
                <a:close/>
                <a:moveTo>
                  <a:pt x="0" y="1735"/>
                </a:moveTo>
                <a:lnTo>
                  <a:pt x="0" y="17289"/>
                </a:lnTo>
                <a:lnTo>
                  <a:pt x="8756" y="20993"/>
                </a:lnTo>
                <a:lnTo>
                  <a:pt x="8756" y="5441"/>
                </a:lnTo>
                <a:lnTo>
                  <a:pt x="0" y="1735"/>
                </a:lnTo>
                <a:close/>
                <a:moveTo>
                  <a:pt x="21600" y="1735"/>
                </a:moveTo>
                <a:lnTo>
                  <a:pt x="12844" y="5441"/>
                </a:lnTo>
                <a:lnTo>
                  <a:pt x="12844" y="20993"/>
                </a:lnTo>
                <a:lnTo>
                  <a:pt x="21600" y="17289"/>
                </a:lnTo>
                <a:lnTo>
                  <a:pt x="21600" y="1735"/>
                </a:lnTo>
                <a:close/>
                <a:moveTo>
                  <a:pt x="9325" y="5827"/>
                </a:moveTo>
                <a:lnTo>
                  <a:pt x="9325" y="21600"/>
                </a:lnTo>
                <a:lnTo>
                  <a:pt x="12275" y="21600"/>
                </a:lnTo>
                <a:lnTo>
                  <a:pt x="12275" y="5827"/>
                </a:lnTo>
                <a:lnTo>
                  <a:pt x="9325" y="5827"/>
                </a:lnTo>
                <a:close/>
              </a:path>
            </a:pathLst>
          </a:custGeom>
          <a:solidFill>
            <a:srgbClr val="0077C8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defTabSz="825500">
              <a:defRPr sz="3200">
                <a:solidFill>
                  <a:srgbClr val="0077C8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dirty="0"/>
          </a:p>
        </p:txBody>
      </p:sp>
      <p:pic>
        <p:nvPicPr>
          <p:cNvPr id="33" name="Рисунок 44" descr="Рисунок 4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485117" y="2027517"/>
            <a:ext cx="599910" cy="599910"/>
          </a:xfrm>
          <a:prstGeom prst="rect">
            <a:avLst/>
          </a:prstGeom>
          <a:ln w="12700">
            <a:miter lim="400000"/>
          </a:ln>
        </p:spPr>
      </p:pic>
      <p:sp>
        <p:nvSpPr>
          <p:cNvPr id="36" name="TextBox 35"/>
          <p:cNvSpPr txBox="1"/>
          <p:nvPr/>
        </p:nvSpPr>
        <p:spPr>
          <a:xfrm>
            <a:off x="11864717" y="6357745"/>
            <a:ext cx="344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2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79242154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" name="Изображение" descr="Изображение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90337" y="5254672"/>
            <a:ext cx="1310606" cy="1058707"/>
          </a:xfrm>
          <a:prstGeom prst="rect">
            <a:avLst/>
          </a:prstGeom>
          <a:ln w="12700">
            <a:miter lim="400000"/>
          </a:ln>
        </p:spPr>
      </p:pic>
      <p:sp>
        <p:nvSpPr>
          <p:cNvPr id="104" name="Стрелка вниз 103"/>
          <p:cNvSpPr/>
          <p:nvPr/>
        </p:nvSpPr>
        <p:spPr>
          <a:xfrm rot="16200000">
            <a:off x="5770253" y="5286929"/>
            <a:ext cx="364982" cy="994195"/>
          </a:xfrm>
          <a:prstGeom prst="downArrow">
            <a:avLst/>
          </a:prstGeom>
          <a:solidFill>
            <a:srgbClr val="007B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Стрелка вниз 11"/>
          <p:cNvSpPr/>
          <p:nvPr/>
        </p:nvSpPr>
        <p:spPr>
          <a:xfrm rot="16200000">
            <a:off x="3341884" y="5286929"/>
            <a:ext cx="364982" cy="994195"/>
          </a:xfrm>
          <a:prstGeom prst="downArrow">
            <a:avLst/>
          </a:prstGeom>
          <a:solidFill>
            <a:srgbClr val="007B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0" name="CustomShape 6"/>
          <p:cNvSpPr/>
          <p:nvPr/>
        </p:nvSpPr>
        <p:spPr>
          <a:xfrm>
            <a:off x="6483096" y="5230742"/>
            <a:ext cx="5148072" cy="1156748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noFill/>
            <a:miter lim="400000"/>
          </a:ln>
        </p:spPr>
      </p:sp>
      <p:sp>
        <p:nvSpPr>
          <p:cNvPr id="89" name="CustomShape 6"/>
          <p:cNvSpPr/>
          <p:nvPr/>
        </p:nvSpPr>
        <p:spPr>
          <a:xfrm>
            <a:off x="695305" y="5239887"/>
            <a:ext cx="2268130" cy="1156748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noFill/>
            <a:miter lim="400000"/>
          </a:ln>
        </p:spPr>
      </p:sp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956061D0-605A-B447-A096-03350A1445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795" y="794"/>
          <a:ext cx="61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6" name="Слайд think-cell" r:id="rId6" imgW="7772400" imgH="10058400" progId="TCLayout.ActiveDocument.1">
                  <p:embed/>
                </p:oleObj>
              </mc:Choice>
              <mc:Fallback>
                <p:oleObj name="Слайд think-cell" r:id="rId6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956061D0-605A-B447-A096-03350A144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4795" y="794"/>
                        <a:ext cx="61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Главная мысль слайда">
            <a:extLst>
              <a:ext uri="{FF2B5EF4-FFF2-40B4-BE49-F238E27FC236}">
                <a16:creationId xmlns:a16="http://schemas.microsoft.com/office/drawing/2014/main" id="{091FF344-9909-814A-981B-164E19681488}"/>
              </a:ext>
            </a:extLst>
          </p:cNvPr>
          <p:cNvSpPr txBox="1">
            <a:spLocks/>
          </p:cNvSpPr>
          <p:nvPr/>
        </p:nvSpPr>
        <p:spPr>
          <a:xfrm>
            <a:off x="360001" y="241200"/>
            <a:ext cx="10867996" cy="5686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5400" tIns="25400" rIns="25400" bIns="25400" anchor="ctr">
            <a:noAutofit/>
          </a:bodyPr>
          <a:lstStyle>
            <a:lvl1pPr marL="0" marR="0" indent="0" algn="l" defTabSz="1828754" rtl="0" latinLnBrk="0">
              <a:lnSpc>
                <a:spcPct val="80000"/>
              </a:lnSpc>
              <a:spcBef>
                <a:spcPts val="4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500" b="0" i="0" u="none" strike="noStrike" cap="none" spc="0" baseline="0">
                <a:solidFill>
                  <a:srgbClr val="000000"/>
                </a:solidFill>
                <a:uFillTx/>
                <a:latin typeface="Stem"/>
                <a:ea typeface="Stem"/>
                <a:cs typeface="Stem"/>
                <a:sym typeface="Stem"/>
              </a:defRPr>
            </a:lvl1pPr>
            <a:lvl2pPr marL="0" marR="0" indent="3429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6858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10287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13716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17145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20574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24003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2743200" algn="l" defTabSz="1828754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pPr marL="6350" defTabSz="914377">
              <a:spcBef>
                <a:spcPts val="50"/>
              </a:spcBef>
            </a:pPr>
            <a:r>
              <a:rPr lang="ru-RU" sz="2400" spc="-10" dirty="0" smtClean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Основные подходы к реализации механизма СЗПК</a:t>
            </a:r>
            <a:endParaRPr lang="ru-RU" sz="2400" spc="-10" dirty="0">
              <a:solidFill>
                <a:schemeClr val="bg2">
                  <a:lumMod val="10000"/>
                </a:schemeClr>
              </a:solidFill>
              <a:latin typeface="Stem Medium" panose="020B0503020203020204"/>
              <a:ea typeface="+mj-ea"/>
              <a:cs typeface="Verdana"/>
            </a:endParaRPr>
          </a:p>
        </p:txBody>
      </p:sp>
      <p:pic>
        <p:nvPicPr>
          <p:cNvPr id="57" name="object 4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11227996" y="191108"/>
            <a:ext cx="800906" cy="834507"/>
          </a:xfrm>
          <a:prstGeom prst="rect">
            <a:avLst/>
          </a:prstGeom>
        </p:spPr>
      </p:pic>
      <p:pic>
        <p:nvPicPr>
          <p:cNvPr id="97" name="object 6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360682" y="681311"/>
            <a:ext cx="1384857" cy="51528"/>
          </a:xfrm>
          <a:prstGeom prst="rect">
            <a:avLst/>
          </a:prstGeom>
        </p:spPr>
      </p:pic>
      <p:sp>
        <p:nvSpPr>
          <p:cNvPr id="68" name="TextBox 67"/>
          <p:cNvSpPr txBox="1"/>
          <p:nvPr/>
        </p:nvSpPr>
        <p:spPr>
          <a:xfrm>
            <a:off x="11865864" y="6372101"/>
            <a:ext cx="6522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3</a:t>
            </a:r>
            <a:endParaRPr lang="ru-RU" b="1" dirty="0"/>
          </a:p>
        </p:txBody>
      </p:sp>
      <p:sp>
        <p:nvSpPr>
          <p:cNvPr id="65" name="TextBox 64"/>
          <p:cNvSpPr txBox="1"/>
          <p:nvPr/>
        </p:nvSpPr>
        <p:spPr>
          <a:xfrm>
            <a:off x="292337" y="744244"/>
            <a:ext cx="42065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  <a:sym typeface="Stem"/>
              </a:rPr>
              <a:t>Принцип</a:t>
            </a:r>
            <a:r>
              <a:rPr lang="ru-RU" sz="1400" dirty="0" smtClean="0"/>
              <a:t> </a:t>
            </a:r>
            <a:r>
              <a:rPr lang="en-US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  <a:sym typeface="Stem"/>
              </a:rPr>
              <a:t>WIN-WIN </a:t>
            </a:r>
            <a:r>
              <a:rPr lang="ru-RU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  <a:sym typeface="Stem"/>
              </a:rPr>
              <a:t>для</a:t>
            </a:r>
            <a:r>
              <a:rPr lang="ru-RU" sz="1400" dirty="0" smtClean="0"/>
              <a:t> </a:t>
            </a:r>
            <a:r>
              <a:rPr lang="ru-RU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  <a:sym typeface="Stem"/>
              </a:rPr>
              <a:t>всех</a:t>
            </a:r>
            <a:r>
              <a:rPr lang="ru-RU" sz="1400" dirty="0" smtClean="0"/>
              <a:t> </a:t>
            </a:r>
            <a:r>
              <a:rPr lang="ru-RU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  <a:sym typeface="Stem"/>
              </a:rPr>
              <a:t>участников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60001" y="1170958"/>
            <a:ext cx="5665895" cy="3677603"/>
          </a:xfrm>
          <a:prstGeom prst="roundRect">
            <a:avLst/>
          </a:prstGeom>
          <a:noFill/>
          <a:ln>
            <a:solidFill>
              <a:srgbClr val="0079C8"/>
            </a:solidFill>
            <a:prstDash val="dashDot"/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Для инвестора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ru-RU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Гибкость </a:t>
            </a:r>
            <a:r>
              <a:rPr lang="ru-RU" spc="-10" dirty="0" smtClean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планирования</a:t>
            </a:r>
            <a:br>
              <a:rPr lang="ru-RU" spc="-10" dirty="0" smtClean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</a:br>
            <a:r>
              <a:rPr lang="ru-RU" sz="1400" i="1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и</a:t>
            </a:r>
            <a:r>
              <a:rPr lang="ru-RU" sz="1400" i="1" spc="-10" dirty="0" smtClean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нвестор сам </a:t>
            </a:r>
            <a:r>
              <a:rPr lang="ru-RU" sz="1400" i="1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решает какой проект </a:t>
            </a:r>
            <a:r>
              <a:rPr lang="ru-RU" sz="1400" i="1" spc="-10" dirty="0" smtClean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реализовывать</a:t>
            </a:r>
            <a:endParaRPr lang="ru-RU" sz="1400" i="1" spc="-10" dirty="0">
              <a:solidFill>
                <a:schemeClr val="bg2">
                  <a:lumMod val="10000"/>
                </a:schemeClr>
              </a:solidFill>
              <a:latin typeface="Stem Medium" panose="020B0503020203020204"/>
              <a:ea typeface="+mj-ea"/>
              <a:cs typeface="Verdana"/>
            </a:endParaRPr>
          </a:p>
          <a:p>
            <a:pPr marL="342900" indent="-342900" algn="just">
              <a:spcBef>
                <a:spcPts val="600"/>
              </a:spcBef>
              <a:buFont typeface="+mj-lt"/>
              <a:buAutoNum type="arabicPeriod"/>
            </a:pPr>
            <a:r>
              <a:rPr lang="ru-RU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СЗПК уменьшает риск-премию </a:t>
            </a:r>
            <a:r>
              <a:rPr lang="ru-RU" spc="-10" dirty="0" smtClean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проекта</a:t>
            </a:r>
            <a:br>
              <a:rPr lang="ru-RU" spc="-10" dirty="0" smtClean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</a:br>
            <a:r>
              <a:rPr lang="ru-RU" sz="1400" i="1" spc="-10" dirty="0" smtClean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гарантия </a:t>
            </a:r>
            <a:r>
              <a:rPr lang="ru-RU" sz="1400" i="1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неизменности законодательства</a:t>
            </a:r>
          </a:p>
          <a:p>
            <a:pPr marL="342900" indent="-342900" algn="just">
              <a:spcBef>
                <a:spcPts val="600"/>
              </a:spcBef>
              <a:buFont typeface="+mj-lt"/>
              <a:buAutoNum type="arabicPeriod"/>
            </a:pPr>
            <a:r>
              <a:rPr lang="ru-RU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Снятие инфраструктурных ограничений за </a:t>
            </a:r>
            <a:r>
              <a:rPr lang="ru-RU" spc="-10" dirty="0" smtClean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счет </a:t>
            </a:r>
            <a:r>
              <a:rPr lang="ru-RU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предоставления субсидии/налогового </a:t>
            </a:r>
            <a:r>
              <a:rPr lang="ru-RU" spc="-10" dirty="0" smtClean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вычета</a:t>
            </a:r>
            <a:endParaRPr lang="ru-RU" spc="-10" dirty="0">
              <a:solidFill>
                <a:schemeClr val="bg2">
                  <a:lumMod val="10000"/>
                </a:schemeClr>
              </a:solidFill>
              <a:latin typeface="Stem Medium" panose="020B0503020203020204"/>
              <a:ea typeface="+mj-ea"/>
              <a:cs typeface="Verdana"/>
            </a:endParaRPr>
          </a:p>
          <a:p>
            <a:pPr marL="342900" indent="-342900" algn="just">
              <a:spcBef>
                <a:spcPts val="600"/>
              </a:spcBef>
              <a:buFont typeface="+mj-lt"/>
              <a:buAutoNum type="arabicPeriod"/>
            </a:pPr>
            <a:r>
              <a:rPr lang="ru-RU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Стимул к ведению «прозрачного» бизнеса, так как объем государственной поддержки </a:t>
            </a:r>
            <a:r>
              <a:rPr lang="ru-RU" spc="-10" dirty="0" smtClean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напрямую </a:t>
            </a:r>
            <a:r>
              <a:rPr lang="ru-RU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зависит от объема уплаченных </a:t>
            </a:r>
            <a:r>
              <a:rPr lang="ru-RU" spc="-10" dirty="0" smtClean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налогов</a:t>
            </a:r>
            <a:endParaRPr lang="ru-RU" spc="-10" dirty="0">
              <a:solidFill>
                <a:schemeClr val="bg2">
                  <a:lumMod val="10000"/>
                </a:schemeClr>
              </a:solidFill>
              <a:latin typeface="Stem Medium" panose="020B0503020203020204"/>
              <a:ea typeface="+mj-ea"/>
              <a:cs typeface="Verdana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6172200" y="1171818"/>
            <a:ext cx="5856702" cy="3947655"/>
          </a:xfrm>
          <a:prstGeom prst="roundRect">
            <a:avLst/>
          </a:prstGeom>
          <a:noFill/>
          <a:ln>
            <a:solidFill>
              <a:srgbClr val="0079C8"/>
            </a:solidFill>
            <a:prstDash val="dashDot"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pc="-1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defRPr>
            </a:lvl1pPr>
          </a:lstStyle>
          <a:p>
            <a:pPr algn="ctr"/>
            <a:r>
              <a:rPr lang="ru-RU" b="1" dirty="0"/>
              <a:t>Для государства</a:t>
            </a:r>
          </a:p>
          <a:p>
            <a:pPr marL="342900" indent="-342900" algn="just">
              <a:spcBef>
                <a:spcPts val="600"/>
              </a:spcBef>
              <a:buFont typeface="+mj-lt"/>
              <a:buAutoNum type="arabicPeriod"/>
            </a:pPr>
            <a:r>
              <a:rPr lang="ru-RU" dirty="0"/>
              <a:t>Стимулирование вложений частного капитала в экономику</a:t>
            </a:r>
          </a:p>
          <a:p>
            <a:pPr marL="342900" indent="-342900" algn="just">
              <a:spcBef>
                <a:spcPts val="600"/>
              </a:spcBef>
              <a:buFont typeface="+mj-lt"/>
              <a:buAutoNum type="arabicPeriod"/>
            </a:pPr>
            <a:r>
              <a:rPr lang="ru-RU" dirty="0" smtClean="0"/>
              <a:t>Создание </a:t>
            </a:r>
            <a:r>
              <a:rPr lang="ru-RU" dirty="0"/>
              <a:t>инфраструктуры за счет внебюджетных источников</a:t>
            </a:r>
          </a:p>
          <a:p>
            <a:pPr marL="342900" indent="-342900" algn="just">
              <a:spcBef>
                <a:spcPts val="600"/>
              </a:spcBef>
              <a:buFont typeface="+mj-lt"/>
              <a:buAutoNum type="arabicPeriod"/>
            </a:pPr>
            <a:r>
              <a:rPr lang="ru-RU" dirty="0"/>
              <a:t>Отсутствие дополнительных </a:t>
            </a:r>
            <a:r>
              <a:rPr lang="ru-RU" dirty="0" smtClean="0"/>
              <a:t>обязательств </a:t>
            </a:r>
            <a:br>
              <a:rPr lang="ru-RU" dirty="0" smtClean="0"/>
            </a:br>
            <a:r>
              <a:rPr lang="ru-RU" dirty="0" smtClean="0"/>
              <a:t>до </a:t>
            </a:r>
            <a:r>
              <a:rPr lang="ru-RU" dirty="0"/>
              <a:t>момента старта проекта</a:t>
            </a:r>
          </a:p>
          <a:p>
            <a:pPr marL="342900" indent="-342900" algn="just">
              <a:spcBef>
                <a:spcPts val="600"/>
              </a:spcBef>
              <a:buFont typeface="+mj-lt"/>
              <a:buAutoNum type="arabicPeriod"/>
            </a:pPr>
            <a:r>
              <a:rPr lang="ru-RU" dirty="0"/>
              <a:t>Отсутствие дополнительных расходов средств бюджета. </a:t>
            </a:r>
            <a:r>
              <a:rPr lang="ru-RU" dirty="0">
                <a:solidFill>
                  <a:schemeClr val="accent5"/>
                </a:solidFill>
              </a:rPr>
              <a:t>Вся государственная поддержка осуществляется в рамках исчисленных налогов, которые </a:t>
            </a:r>
            <a:r>
              <a:rPr lang="ru-RU" dirty="0" smtClean="0">
                <a:solidFill>
                  <a:schemeClr val="accent5"/>
                </a:solidFill>
              </a:rPr>
              <a:t>генерируются </a:t>
            </a:r>
            <a:r>
              <a:rPr lang="ru-RU" dirty="0">
                <a:solidFill>
                  <a:schemeClr val="accent5"/>
                </a:solidFill>
              </a:rPr>
              <a:t>в рамках </a:t>
            </a:r>
            <a:r>
              <a:rPr lang="ru-RU" dirty="0" smtClean="0">
                <a:solidFill>
                  <a:schemeClr val="accent5"/>
                </a:solidFill>
              </a:rPr>
              <a:t>проекта</a:t>
            </a:r>
            <a:endParaRPr lang="ru-RU" dirty="0">
              <a:solidFill>
                <a:schemeClr val="accent5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695306" y="5358560"/>
            <a:ext cx="2213100" cy="919401"/>
          </a:xfrm>
          <a:prstGeom prst="roundRect">
            <a:avLst/>
          </a:prstGeom>
          <a:noFill/>
          <a:ln>
            <a:noFill/>
            <a:prstDash val="dashDot"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pc="-1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defRPr>
            </a:lvl1pPr>
          </a:lstStyle>
          <a:p>
            <a:pPr algn="ctr"/>
            <a:r>
              <a:rPr lang="ru-RU" sz="1600" dirty="0" smtClean="0">
                <a:solidFill>
                  <a:schemeClr val="bg1"/>
                </a:solidFill>
              </a:rPr>
              <a:t>Исчисленные </a:t>
            </a:r>
            <a:r>
              <a:rPr lang="ru-RU" sz="1600" dirty="0">
                <a:solidFill>
                  <a:schemeClr val="bg1"/>
                </a:solidFill>
              </a:rPr>
              <a:t>в процессе </a:t>
            </a:r>
            <a:r>
              <a:rPr lang="ru-RU" sz="1600" dirty="0" smtClean="0">
                <a:solidFill>
                  <a:schemeClr val="bg1"/>
                </a:solidFill>
              </a:rPr>
              <a:t>реализации проекта налоги ОРП*</a:t>
            </a: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6323838" y="5315182"/>
            <a:ext cx="1966722" cy="919401"/>
          </a:xfrm>
          <a:prstGeom prst="roundRect">
            <a:avLst/>
          </a:prstGeom>
          <a:noFill/>
          <a:ln>
            <a:noFill/>
            <a:prstDash val="dashDot"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pc="-10">
                <a:solidFill>
                  <a:schemeClr val="bg1"/>
                </a:solidFill>
                <a:latin typeface="Stem Medium" panose="020B0503020203020204"/>
                <a:ea typeface="+mj-ea"/>
                <a:cs typeface="Verdana"/>
              </a:defRPr>
            </a:lvl1pPr>
          </a:lstStyle>
          <a:p>
            <a:pPr algn="ctr"/>
            <a:r>
              <a:rPr lang="ru-RU" sz="1600" dirty="0"/>
              <a:t>Меры государственной поддержки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8409432" y="5230742"/>
            <a:ext cx="3221736" cy="1191816"/>
          </a:xfrm>
          <a:prstGeom prst="roundRect">
            <a:avLst/>
          </a:prstGeom>
          <a:noFill/>
          <a:ln>
            <a:noFill/>
            <a:prstDash val="dashDot"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pc="-1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defRPr>
            </a:lvl1pPr>
          </a:lstStyle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bg1"/>
                </a:solidFill>
              </a:rPr>
              <a:t>Субсидии на инфраструктуру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bg1"/>
                </a:solidFill>
              </a:rPr>
              <a:t>Налоговые вычеты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bg1"/>
                </a:solidFill>
              </a:rPr>
              <a:t>Ущерб по СЗПК, в том числе по связанным договорам</a:t>
            </a:r>
          </a:p>
        </p:txBody>
      </p:sp>
      <p:sp>
        <p:nvSpPr>
          <p:cNvPr id="9" name="Левая фигурная скобка 8"/>
          <p:cNvSpPr/>
          <p:nvPr/>
        </p:nvSpPr>
        <p:spPr>
          <a:xfrm>
            <a:off x="8005572" y="5529178"/>
            <a:ext cx="268224" cy="969580"/>
          </a:xfrm>
          <a:prstGeom prst="leftBrac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2" name="Изображение" descr="Изображение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25086" y="1365587"/>
            <a:ext cx="424405" cy="342834"/>
          </a:xfrm>
          <a:prstGeom prst="rect">
            <a:avLst/>
          </a:prstGeom>
          <a:ln w="12700">
            <a:miter lim="400000"/>
          </a:ln>
        </p:spPr>
      </p:pic>
      <p:sp>
        <p:nvSpPr>
          <p:cNvPr id="93" name="Здание суда"/>
          <p:cNvSpPr/>
          <p:nvPr/>
        </p:nvSpPr>
        <p:spPr>
          <a:xfrm>
            <a:off x="7619303" y="1365587"/>
            <a:ext cx="342835" cy="34283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1158" y="3613"/>
                </a:lnTo>
                <a:lnTo>
                  <a:pt x="1158" y="4293"/>
                </a:lnTo>
                <a:lnTo>
                  <a:pt x="20444" y="4293"/>
                </a:lnTo>
                <a:lnTo>
                  <a:pt x="20444" y="3613"/>
                </a:lnTo>
                <a:lnTo>
                  <a:pt x="10800" y="0"/>
                </a:lnTo>
                <a:close/>
                <a:moveTo>
                  <a:pt x="2354" y="4683"/>
                </a:moveTo>
                <a:lnTo>
                  <a:pt x="2354" y="6036"/>
                </a:lnTo>
                <a:lnTo>
                  <a:pt x="3269" y="6036"/>
                </a:lnTo>
                <a:lnTo>
                  <a:pt x="3269" y="6676"/>
                </a:lnTo>
                <a:cubicBezTo>
                  <a:pt x="3553" y="6676"/>
                  <a:pt x="3618" y="7023"/>
                  <a:pt x="3618" y="7023"/>
                </a:cubicBezTo>
                <a:lnTo>
                  <a:pt x="3618" y="15657"/>
                </a:lnTo>
                <a:lnTo>
                  <a:pt x="3346" y="15657"/>
                </a:lnTo>
                <a:lnTo>
                  <a:pt x="3346" y="16762"/>
                </a:lnTo>
                <a:lnTo>
                  <a:pt x="2354" y="16762"/>
                </a:lnTo>
                <a:lnTo>
                  <a:pt x="2354" y="18115"/>
                </a:lnTo>
                <a:lnTo>
                  <a:pt x="19246" y="18115"/>
                </a:lnTo>
                <a:lnTo>
                  <a:pt x="19246" y="16762"/>
                </a:lnTo>
                <a:lnTo>
                  <a:pt x="18254" y="16762"/>
                </a:lnTo>
                <a:lnTo>
                  <a:pt x="18254" y="15657"/>
                </a:lnTo>
                <a:lnTo>
                  <a:pt x="17984" y="15657"/>
                </a:lnTo>
                <a:lnTo>
                  <a:pt x="17984" y="7023"/>
                </a:lnTo>
                <a:cubicBezTo>
                  <a:pt x="17984" y="7023"/>
                  <a:pt x="18049" y="6676"/>
                  <a:pt x="18333" y="6676"/>
                </a:cubicBezTo>
                <a:lnTo>
                  <a:pt x="18333" y="6036"/>
                </a:lnTo>
                <a:lnTo>
                  <a:pt x="19246" y="6036"/>
                </a:lnTo>
                <a:lnTo>
                  <a:pt x="19246" y="4683"/>
                </a:lnTo>
                <a:lnTo>
                  <a:pt x="2354" y="4683"/>
                </a:lnTo>
                <a:close/>
                <a:moveTo>
                  <a:pt x="5670" y="6036"/>
                </a:moveTo>
                <a:lnTo>
                  <a:pt x="7489" y="6036"/>
                </a:lnTo>
                <a:lnTo>
                  <a:pt x="7489" y="6676"/>
                </a:lnTo>
                <a:cubicBezTo>
                  <a:pt x="7773" y="6676"/>
                  <a:pt x="7838" y="7023"/>
                  <a:pt x="7838" y="7023"/>
                </a:cubicBezTo>
                <a:lnTo>
                  <a:pt x="7838" y="15657"/>
                </a:lnTo>
                <a:lnTo>
                  <a:pt x="7568" y="15657"/>
                </a:lnTo>
                <a:lnTo>
                  <a:pt x="7568" y="16762"/>
                </a:lnTo>
                <a:lnTo>
                  <a:pt x="5591" y="16762"/>
                </a:lnTo>
                <a:lnTo>
                  <a:pt x="5591" y="15657"/>
                </a:lnTo>
                <a:lnTo>
                  <a:pt x="5321" y="15657"/>
                </a:lnTo>
                <a:lnTo>
                  <a:pt x="5321" y="7023"/>
                </a:lnTo>
                <a:cubicBezTo>
                  <a:pt x="5321" y="7023"/>
                  <a:pt x="5386" y="6676"/>
                  <a:pt x="5670" y="6676"/>
                </a:cubicBezTo>
                <a:lnTo>
                  <a:pt x="5670" y="6036"/>
                </a:lnTo>
                <a:close/>
                <a:moveTo>
                  <a:pt x="9890" y="6036"/>
                </a:moveTo>
                <a:lnTo>
                  <a:pt x="11710" y="6036"/>
                </a:lnTo>
                <a:lnTo>
                  <a:pt x="11710" y="6676"/>
                </a:lnTo>
                <a:cubicBezTo>
                  <a:pt x="11993" y="6676"/>
                  <a:pt x="12059" y="7023"/>
                  <a:pt x="12059" y="7023"/>
                </a:cubicBezTo>
                <a:lnTo>
                  <a:pt x="12059" y="15657"/>
                </a:lnTo>
                <a:lnTo>
                  <a:pt x="11789" y="15657"/>
                </a:lnTo>
                <a:lnTo>
                  <a:pt x="11789" y="16762"/>
                </a:lnTo>
                <a:lnTo>
                  <a:pt x="9813" y="16762"/>
                </a:lnTo>
                <a:lnTo>
                  <a:pt x="9813" y="15657"/>
                </a:lnTo>
                <a:lnTo>
                  <a:pt x="9541" y="15657"/>
                </a:lnTo>
                <a:lnTo>
                  <a:pt x="9541" y="7023"/>
                </a:lnTo>
                <a:cubicBezTo>
                  <a:pt x="9541" y="7023"/>
                  <a:pt x="9607" y="6676"/>
                  <a:pt x="9890" y="6676"/>
                </a:cubicBezTo>
                <a:lnTo>
                  <a:pt x="9890" y="6036"/>
                </a:lnTo>
                <a:close/>
                <a:moveTo>
                  <a:pt x="14113" y="6036"/>
                </a:moveTo>
                <a:lnTo>
                  <a:pt x="15932" y="6036"/>
                </a:lnTo>
                <a:lnTo>
                  <a:pt x="15932" y="6676"/>
                </a:lnTo>
                <a:cubicBezTo>
                  <a:pt x="16216" y="6676"/>
                  <a:pt x="16281" y="7023"/>
                  <a:pt x="16281" y="7023"/>
                </a:cubicBezTo>
                <a:lnTo>
                  <a:pt x="16281" y="15657"/>
                </a:lnTo>
                <a:lnTo>
                  <a:pt x="16009" y="15657"/>
                </a:lnTo>
                <a:lnTo>
                  <a:pt x="16009" y="16762"/>
                </a:lnTo>
                <a:lnTo>
                  <a:pt x="14033" y="16762"/>
                </a:lnTo>
                <a:lnTo>
                  <a:pt x="14033" y="15657"/>
                </a:lnTo>
                <a:lnTo>
                  <a:pt x="13763" y="15657"/>
                </a:lnTo>
                <a:lnTo>
                  <a:pt x="13763" y="7023"/>
                </a:lnTo>
                <a:cubicBezTo>
                  <a:pt x="13763" y="7023"/>
                  <a:pt x="13829" y="6676"/>
                  <a:pt x="14113" y="6676"/>
                </a:cubicBezTo>
                <a:lnTo>
                  <a:pt x="14113" y="6036"/>
                </a:lnTo>
                <a:close/>
                <a:moveTo>
                  <a:pt x="1158" y="18505"/>
                </a:moveTo>
                <a:lnTo>
                  <a:pt x="1158" y="19858"/>
                </a:lnTo>
                <a:lnTo>
                  <a:pt x="20444" y="19858"/>
                </a:lnTo>
                <a:lnTo>
                  <a:pt x="20444" y="18505"/>
                </a:lnTo>
                <a:lnTo>
                  <a:pt x="1158" y="18505"/>
                </a:lnTo>
                <a:close/>
                <a:moveTo>
                  <a:pt x="0" y="20247"/>
                </a:moveTo>
                <a:lnTo>
                  <a:pt x="0" y="21600"/>
                </a:lnTo>
                <a:lnTo>
                  <a:pt x="21600" y="21600"/>
                </a:lnTo>
                <a:lnTo>
                  <a:pt x="21600" y="20247"/>
                </a:lnTo>
                <a:lnTo>
                  <a:pt x="0" y="20247"/>
                </a:lnTo>
                <a:close/>
              </a:path>
            </a:pathLst>
          </a:custGeom>
          <a:solidFill>
            <a:srgbClr val="0077C8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defTabSz="82550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/>
          </a:p>
        </p:txBody>
      </p:sp>
      <p:sp>
        <p:nvSpPr>
          <p:cNvPr id="105" name="TextBox 104"/>
          <p:cNvSpPr txBox="1"/>
          <p:nvPr/>
        </p:nvSpPr>
        <p:spPr>
          <a:xfrm>
            <a:off x="4103842" y="5351705"/>
            <a:ext cx="1287724" cy="374571"/>
          </a:xfrm>
          <a:prstGeom prst="roundRect">
            <a:avLst/>
          </a:prstGeom>
          <a:noFill/>
          <a:ln>
            <a:noFill/>
            <a:prstDash val="dashDot"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pc="-1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defRPr>
            </a:lvl1pPr>
          </a:lstStyle>
          <a:p>
            <a:pPr algn="ctr"/>
            <a:r>
              <a:rPr lang="ru-RU" sz="1600" dirty="0" smtClean="0">
                <a:solidFill>
                  <a:schemeClr val="bg1"/>
                </a:solidFill>
              </a:rPr>
              <a:t>Налоги ОРП</a:t>
            </a: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60001" y="6387490"/>
            <a:ext cx="38736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*ОРП – организация, реализующая проект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285687933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ustomShape 6"/>
          <p:cNvSpPr/>
          <p:nvPr/>
        </p:nvSpPr>
        <p:spPr>
          <a:xfrm>
            <a:off x="391644" y="1317256"/>
            <a:ext cx="5380411" cy="878768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noFill/>
            <a:miter lim="400000"/>
          </a:ln>
        </p:spPr>
      </p:sp>
      <p:sp>
        <p:nvSpPr>
          <p:cNvPr id="89" name="CustomShape 6"/>
          <p:cNvSpPr/>
          <p:nvPr/>
        </p:nvSpPr>
        <p:spPr>
          <a:xfrm>
            <a:off x="360001" y="2335364"/>
            <a:ext cx="5412054" cy="1673955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noFill/>
            <a:miter lim="400000"/>
          </a:ln>
        </p:spPr>
      </p:sp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956061D0-605A-B447-A096-03350A1445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795" y="794"/>
          <a:ext cx="61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2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956061D0-605A-B447-A096-03350A144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795" y="794"/>
                        <a:ext cx="61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Главная мысль слайда">
            <a:extLst>
              <a:ext uri="{FF2B5EF4-FFF2-40B4-BE49-F238E27FC236}">
                <a16:creationId xmlns:a16="http://schemas.microsoft.com/office/drawing/2014/main" id="{091FF344-9909-814A-981B-164E19681488}"/>
              </a:ext>
            </a:extLst>
          </p:cNvPr>
          <p:cNvSpPr txBox="1">
            <a:spLocks/>
          </p:cNvSpPr>
          <p:nvPr/>
        </p:nvSpPr>
        <p:spPr>
          <a:xfrm>
            <a:off x="297248" y="106730"/>
            <a:ext cx="10867996" cy="5686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5400" tIns="25400" rIns="25400" bIns="25400" anchor="ctr">
            <a:noAutofit/>
          </a:bodyPr>
          <a:lstStyle>
            <a:defPPr>
              <a:defRPr lang="ru-RU"/>
            </a:defPPr>
            <a:lvl1pPr marL="6350" marR="0" indent="0" defTabSz="914377">
              <a:lnSpc>
                <a:spcPct val="80000"/>
              </a:lnSpc>
              <a:spcBef>
                <a:spcPts val="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i="0" u="none" strike="noStrike" cap="none" spc="-10" baseline="0">
                <a:solidFill>
                  <a:schemeClr val="accent1">
                    <a:lumMod val="50000"/>
                  </a:schemeClr>
                </a:solidFill>
                <a:uFillTx/>
                <a:latin typeface="+mj-lt"/>
                <a:ea typeface="+mj-ea"/>
                <a:cs typeface="Verdana"/>
              </a:defRPr>
            </a:lvl1pPr>
            <a:lvl2pPr marL="0" marR="0" indent="3429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2pPr>
            <a:lvl3pPr marL="0" marR="0" indent="6858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3pPr>
            <a:lvl4pPr marL="0" marR="0" indent="10287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4pPr>
            <a:lvl5pPr marL="0" marR="0" indent="13716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5pPr>
            <a:lvl6pPr marL="0" marR="0" indent="17145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6pPr>
            <a:lvl7pPr marL="0" marR="0" indent="20574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7pPr>
            <a:lvl8pPr marL="0" marR="0" indent="24003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8pPr>
            <a:lvl9pPr marL="0" marR="0" indent="27432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9pPr>
          </a:lstStyle>
          <a:p>
            <a:r>
              <a:rPr lang="ru-RU" b="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sym typeface="Stem"/>
              </a:rPr>
              <a:t>Возможности СЗПК</a:t>
            </a:r>
          </a:p>
        </p:txBody>
      </p:sp>
      <p:pic>
        <p:nvPicPr>
          <p:cNvPr id="57" name="object 4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11380396" y="56637"/>
            <a:ext cx="800906" cy="834507"/>
          </a:xfrm>
          <a:prstGeom prst="rect">
            <a:avLst/>
          </a:prstGeom>
        </p:spPr>
      </p:pic>
      <p:pic>
        <p:nvPicPr>
          <p:cNvPr id="97" name="object 6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360682" y="681311"/>
            <a:ext cx="1384857" cy="51528"/>
          </a:xfrm>
          <a:prstGeom prst="rect">
            <a:avLst/>
          </a:prstGeom>
        </p:spPr>
      </p:pic>
      <p:sp>
        <p:nvSpPr>
          <p:cNvPr id="85" name="TextBox 84"/>
          <p:cNvSpPr txBox="1"/>
          <p:nvPr/>
        </p:nvSpPr>
        <p:spPr>
          <a:xfrm>
            <a:off x="247951" y="1323393"/>
            <a:ext cx="5667795" cy="868323"/>
          </a:xfrm>
          <a:prstGeom prst="roundRect">
            <a:avLst/>
          </a:prstGeom>
          <a:noFill/>
          <a:ln>
            <a:noFill/>
            <a:prstDash val="dashDot"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600" b="1" spc="-10">
                <a:solidFill>
                  <a:schemeClr val="bg1"/>
                </a:solidFill>
                <a:ea typeface="+mj-ea"/>
                <a:cs typeface="Verdana"/>
              </a:defRPr>
            </a:lvl1pPr>
          </a:lstStyle>
          <a:p>
            <a:r>
              <a:rPr lang="ru-RU" sz="1500" dirty="0">
                <a:latin typeface="Stem Medium" panose="020B0503020203020204"/>
              </a:rPr>
              <a:t>1. Стабилизационная оговорка</a:t>
            </a:r>
          </a:p>
          <a:p>
            <a:r>
              <a:rPr lang="ru-RU" sz="1500" dirty="0">
                <a:latin typeface="Stem Medium" panose="020B0503020203020204"/>
              </a:rPr>
              <a:t>(гарантия неизменности отдельных </a:t>
            </a:r>
          </a:p>
          <a:p>
            <a:r>
              <a:rPr lang="ru-RU" sz="1500" dirty="0">
                <a:latin typeface="Stem Medium" panose="020B0503020203020204"/>
              </a:rPr>
              <a:t>законодательных актов)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510974" y="2413577"/>
            <a:ext cx="5110108" cy="1477328"/>
          </a:xfrm>
          <a:prstGeom prst="rect">
            <a:avLst/>
          </a:prstGeom>
          <a:noFill/>
          <a:ln>
            <a:noFill/>
            <a:prstDash val="dashDot"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600" b="1" spc="-10">
                <a:solidFill>
                  <a:schemeClr val="bg1"/>
                </a:solidFill>
                <a:ea typeface="+mj-ea"/>
                <a:cs typeface="Verdana"/>
              </a:defRPr>
            </a:lvl1pPr>
          </a:lstStyle>
          <a:p>
            <a:r>
              <a:rPr lang="ru-RU" sz="1500" dirty="0">
                <a:latin typeface="Stem Medium" panose="020B0503020203020204"/>
              </a:rPr>
              <a:t>2. Возмещение затрат  </a:t>
            </a:r>
          </a:p>
          <a:p>
            <a:r>
              <a:rPr lang="ru-RU" sz="1500" dirty="0">
                <a:latin typeface="Stem Medium" panose="020B0503020203020204"/>
              </a:rPr>
              <a:t>(в форме субсидии или налогового вычета) на: </a:t>
            </a:r>
          </a:p>
          <a:p>
            <a:r>
              <a:rPr lang="ru-RU" sz="1500" dirty="0">
                <a:latin typeface="Stem Medium" panose="020B0503020203020204"/>
              </a:rPr>
              <a:t>создание инфраструктуры; </a:t>
            </a:r>
          </a:p>
          <a:p>
            <a:r>
              <a:rPr lang="ru-RU" sz="1500" dirty="0">
                <a:latin typeface="Stem Medium" panose="020B0503020203020204"/>
              </a:rPr>
              <a:t>уплату процентов по кредитам; </a:t>
            </a:r>
          </a:p>
          <a:p>
            <a:r>
              <a:rPr lang="ru-RU" sz="1500" dirty="0">
                <a:latin typeface="Stem Medium" panose="020B0503020203020204"/>
              </a:rPr>
              <a:t>уплату купонного дохода по облигационным займам;</a:t>
            </a:r>
          </a:p>
          <a:p>
            <a:r>
              <a:rPr lang="ru-RU" sz="1500" dirty="0">
                <a:latin typeface="Stem Medium" panose="020B0503020203020204"/>
              </a:rPr>
              <a:t>демонтаж жилых объектов военных городков</a:t>
            </a:r>
          </a:p>
        </p:txBody>
      </p:sp>
      <p:pic>
        <p:nvPicPr>
          <p:cNvPr id="32" name="Изображение" descr="Изображение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7392" y="1437675"/>
            <a:ext cx="365580" cy="495301"/>
          </a:xfrm>
          <a:prstGeom prst="rect">
            <a:avLst/>
          </a:prstGeom>
          <a:ln w="12700">
            <a:miter lim="400000"/>
          </a:ln>
        </p:spPr>
      </p:pic>
      <p:pic>
        <p:nvPicPr>
          <p:cNvPr id="33" name="Изображение" descr="Изображение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10760" y="4446672"/>
            <a:ext cx="218843" cy="495301"/>
          </a:xfrm>
          <a:prstGeom prst="rect">
            <a:avLst/>
          </a:prstGeom>
          <a:ln w="12700">
            <a:miter lim="400000"/>
          </a:ln>
        </p:spPr>
      </p:pic>
      <p:pic>
        <p:nvPicPr>
          <p:cNvPr id="34" name="Изображение" descr="Изображение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01339" y="2868118"/>
            <a:ext cx="426708" cy="425390"/>
          </a:xfrm>
          <a:prstGeom prst="rect">
            <a:avLst/>
          </a:prstGeom>
          <a:ln w="12700">
            <a:miter lim="400000"/>
          </a:ln>
        </p:spPr>
      </p:pic>
      <p:sp>
        <p:nvSpPr>
          <p:cNvPr id="51" name="TextBox 50"/>
          <p:cNvSpPr txBox="1"/>
          <p:nvPr/>
        </p:nvSpPr>
        <p:spPr>
          <a:xfrm>
            <a:off x="6696635" y="1569094"/>
            <a:ext cx="518109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ru-RU" sz="1400" b="1" spc="-10" dirty="0">
                <a:latin typeface="Stem Medium" panose="020B0503020203020204"/>
                <a:ea typeface="+mj-ea"/>
                <a:cs typeface="Verdana"/>
              </a:rPr>
              <a:t>СЗПК может быть заключено в отношении нового инвестиционного проекта, который реализуется в одной из отраслей российской экономики, </a:t>
            </a:r>
            <a:r>
              <a:rPr lang="ru-RU" sz="1400" b="1" spc="-10" dirty="0" smtClean="0">
                <a:latin typeface="Stem Medium" panose="020B0503020203020204"/>
                <a:ea typeface="+mj-ea"/>
                <a:cs typeface="Verdana"/>
              </a:rPr>
              <a:t/>
            </a:r>
            <a:br>
              <a:rPr lang="ru-RU" sz="1400" b="1" spc="-10" dirty="0" smtClean="0">
                <a:latin typeface="Stem Medium" panose="020B0503020203020204"/>
                <a:ea typeface="+mj-ea"/>
                <a:cs typeface="Verdana"/>
              </a:rPr>
            </a:br>
            <a:r>
              <a:rPr lang="ru-RU" sz="1400" b="1" spc="-10" dirty="0" smtClean="0">
                <a:solidFill>
                  <a:srgbClr val="FF0000"/>
                </a:solidFill>
                <a:latin typeface="Stem Medium" panose="020B0503020203020204"/>
                <a:ea typeface="+mj-ea"/>
                <a:cs typeface="Verdana"/>
              </a:rPr>
              <a:t>за </a:t>
            </a:r>
            <a:r>
              <a:rPr lang="ru-RU" sz="1400" b="1" spc="-10" dirty="0">
                <a:solidFill>
                  <a:srgbClr val="FF0000"/>
                </a:solidFill>
                <a:latin typeface="Stem Medium" panose="020B0503020203020204"/>
                <a:ea typeface="+mj-ea"/>
                <a:cs typeface="Verdana"/>
              </a:rPr>
              <a:t>исключением: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6696635" y="2493267"/>
            <a:ext cx="5181092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400" spc="-10" dirty="0">
                <a:latin typeface="Stem Medium" panose="020B0503020203020204"/>
                <a:ea typeface="+mj-ea"/>
                <a:cs typeface="Verdana"/>
              </a:rPr>
              <a:t>1) игорного бизнеса;</a:t>
            </a:r>
          </a:p>
          <a:p>
            <a:pPr algn="just"/>
            <a:r>
              <a:rPr lang="ru-RU" sz="1400" spc="-10" dirty="0">
                <a:latin typeface="Stem Medium" panose="020B0503020203020204"/>
                <a:ea typeface="+mj-ea"/>
                <a:cs typeface="Verdana"/>
              </a:rPr>
              <a:t>2) производства табачных изделий, алкогольной продукции, </a:t>
            </a:r>
          </a:p>
          <a:p>
            <a:pPr algn="just"/>
            <a:r>
              <a:rPr lang="ru-RU" sz="1400" spc="-10" dirty="0">
                <a:latin typeface="Stem Medium" panose="020B0503020203020204"/>
                <a:ea typeface="+mj-ea"/>
                <a:cs typeface="Verdana"/>
              </a:rPr>
              <a:t>     жидкого топлива; </a:t>
            </a:r>
          </a:p>
          <a:p>
            <a:pPr algn="just"/>
            <a:r>
              <a:rPr lang="ru-RU" sz="1400" spc="-10" dirty="0">
                <a:latin typeface="Stem Medium" panose="020B0503020203020204"/>
                <a:ea typeface="+mj-ea"/>
                <a:cs typeface="Verdana"/>
              </a:rPr>
              <a:t>3) добычи сырой нефти и природного газа, в том числе попутного </a:t>
            </a:r>
            <a:r>
              <a:rPr lang="ru-RU" sz="1400" spc="-10" dirty="0" smtClean="0">
                <a:latin typeface="Stem Medium" panose="020B0503020203020204"/>
                <a:ea typeface="+mj-ea"/>
                <a:cs typeface="Verdana"/>
              </a:rPr>
              <a:t>нефтяного </a:t>
            </a:r>
            <a:r>
              <a:rPr lang="ru-RU" sz="1400" spc="-10" dirty="0">
                <a:latin typeface="Stem Medium" panose="020B0503020203020204"/>
                <a:ea typeface="+mj-ea"/>
                <a:cs typeface="Verdana"/>
              </a:rPr>
              <a:t>газа; </a:t>
            </a:r>
          </a:p>
          <a:p>
            <a:pPr algn="just"/>
            <a:r>
              <a:rPr lang="ru-RU" sz="1400" spc="-10" dirty="0">
                <a:latin typeface="Stem Medium" panose="020B0503020203020204"/>
                <a:ea typeface="+mj-ea"/>
                <a:cs typeface="Verdana"/>
              </a:rPr>
              <a:t>4) оптовой и розничной торговли;</a:t>
            </a:r>
          </a:p>
          <a:p>
            <a:pPr algn="just"/>
            <a:r>
              <a:rPr lang="ru-RU" sz="1400" spc="-10" dirty="0">
                <a:latin typeface="Stem Medium" panose="020B0503020203020204"/>
                <a:ea typeface="+mj-ea"/>
                <a:cs typeface="Verdana"/>
              </a:rPr>
              <a:t>5) деятельности финансовых организаций, поднадзорных Банку </a:t>
            </a:r>
          </a:p>
          <a:p>
            <a:pPr algn="just"/>
            <a:r>
              <a:rPr lang="ru-RU" sz="1400" spc="-10" dirty="0">
                <a:latin typeface="Stem Medium" panose="020B0503020203020204"/>
                <a:ea typeface="+mj-ea"/>
                <a:cs typeface="Verdana"/>
              </a:rPr>
              <a:t>     России;</a:t>
            </a:r>
          </a:p>
          <a:p>
            <a:pPr algn="just"/>
            <a:r>
              <a:rPr lang="ru-RU" sz="1400" spc="-10" dirty="0">
                <a:latin typeface="Stem Medium" panose="020B0503020203020204"/>
                <a:ea typeface="+mj-ea"/>
                <a:cs typeface="Verdana"/>
              </a:rPr>
              <a:t>6) строительства (модернизации, реконструкции) </a:t>
            </a:r>
          </a:p>
          <a:p>
            <a:pPr algn="just"/>
            <a:r>
              <a:rPr lang="ru-RU" sz="1400" spc="-10" dirty="0">
                <a:latin typeface="Stem Medium" panose="020B0503020203020204"/>
                <a:ea typeface="+mj-ea"/>
                <a:cs typeface="Verdana"/>
              </a:rPr>
              <a:t>     административно-деловых центров и торговых центров  </a:t>
            </a:r>
          </a:p>
          <a:p>
            <a:pPr algn="just"/>
            <a:r>
              <a:rPr lang="ru-RU" sz="1400" spc="-10" dirty="0">
                <a:latin typeface="Stem Medium" panose="020B0503020203020204"/>
                <a:ea typeface="+mj-ea"/>
                <a:cs typeface="Verdana"/>
              </a:rPr>
              <a:t>     (комплексов), а также жилых домов (за исключением </a:t>
            </a:r>
          </a:p>
          <a:p>
            <a:pPr algn="just"/>
            <a:r>
              <a:rPr lang="ru-RU" sz="1400" spc="-10" dirty="0">
                <a:latin typeface="Stem Medium" panose="020B0503020203020204"/>
                <a:ea typeface="+mj-ea"/>
                <a:cs typeface="Verdana"/>
              </a:rPr>
              <a:t>     комплексного развития территорий)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1877727" y="6393215"/>
            <a:ext cx="3304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4</a:t>
            </a:r>
            <a:endParaRPr lang="ru-RU" b="1" dirty="0"/>
          </a:p>
        </p:txBody>
      </p:sp>
      <p:pic>
        <p:nvPicPr>
          <p:cNvPr id="21" name="Изображение" descr="Изображение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095707" y="1172912"/>
            <a:ext cx="517166" cy="396182"/>
          </a:xfrm>
          <a:prstGeom prst="rect">
            <a:avLst/>
          </a:prstGeom>
          <a:ln w="12700">
            <a:miter lim="400000"/>
          </a:ln>
        </p:spPr>
      </p:pic>
      <p:sp>
        <p:nvSpPr>
          <p:cNvPr id="19" name="CustomShape 6"/>
          <p:cNvSpPr/>
          <p:nvPr/>
        </p:nvSpPr>
        <p:spPr>
          <a:xfrm>
            <a:off x="391644" y="4200787"/>
            <a:ext cx="5380411" cy="1122052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noFill/>
            <a:miter lim="400000"/>
          </a:ln>
        </p:spPr>
      </p:sp>
      <p:sp>
        <p:nvSpPr>
          <p:cNvPr id="20" name="TextBox 19"/>
          <p:cNvSpPr txBox="1"/>
          <p:nvPr/>
        </p:nvSpPr>
        <p:spPr>
          <a:xfrm>
            <a:off x="601339" y="4165905"/>
            <a:ext cx="5182499" cy="1140738"/>
          </a:xfrm>
          <a:prstGeom prst="roundRect">
            <a:avLst/>
          </a:prstGeom>
          <a:noFill/>
          <a:ln>
            <a:noFill/>
            <a:prstDash val="dashDot"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pc="-1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defRPr>
            </a:lvl1pPr>
          </a:lstStyle>
          <a:p>
            <a:pPr algn="ctr"/>
            <a:r>
              <a:rPr lang="ru-RU" sz="1600" b="1" dirty="0">
                <a:solidFill>
                  <a:schemeClr val="bg1"/>
                </a:solidFill>
                <a:latin typeface="+mn-lt"/>
              </a:rPr>
              <a:t>  </a:t>
            </a:r>
            <a:r>
              <a:rPr lang="ru-RU" sz="1500" b="1" dirty="0">
                <a:solidFill>
                  <a:schemeClr val="bg1"/>
                </a:solidFill>
              </a:rPr>
              <a:t>3. Заявительный порядок </a:t>
            </a:r>
          </a:p>
          <a:p>
            <a:pPr algn="ctr"/>
            <a:r>
              <a:rPr lang="ru-RU" sz="1500" b="1" dirty="0">
                <a:solidFill>
                  <a:schemeClr val="bg1"/>
                </a:solidFill>
              </a:rPr>
              <a:t>(без проведения конкурсного отбора,</a:t>
            </a:r>
          </a:p>
          <a:p>
            <a:pPr algn="ctr"/>
            <a:r>
              <a:rPr lang="ru-RU" sz="1500" b="1" dirty="0">
                <a:solidFill>
                  <a:schemeClr val="bg1"/>
                </a:solidFill>
              </a:rPr>
              <a:t>достаточно соответствовать</a:t>
            </a:r>
          </a:p>
          <a:p>
            <a:pPr algn="ctr"/>
            <a:r>
              <a:rPr lang="ru-RU" sz="1500" b="1" dirty="0">
                <a:solidFill>
                  <a:schemeClr val="bg1"/>
                </a:solidFill>
              </a:rPr>
              <a:t>критерию по объему капиталовложений)</a:t>
            </a:r>
          </a:p>
        </p:txBody>
      </p:sp>
    </p:spTree>
    <p:extLst>
      <p:ext uri="{BB962C8B-B14F-4D97-AF65-F5344CB8AC3E}">
        <p14:creationId xmlns:p14="http://schemas.microsoft.com/office/powerpoint/2010/main" val="294667073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956061D0-605A-B447-A096-03350A1445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795" y="794"/>
          <a:ext cx="61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7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956061D0-605A-B447-A096-03350A144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795" y="794"/>
                        <a:ext cx="61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Главная мысль слайда">
            <a:extLst>
              <a:ext uri="{FF2B5EF4-FFF2-40B4-BE49-F238E27FC236}">
                <a16:creationId xmlns:a16="http://schemas.microsoft.com/office/drawing/2014/main" id="{091FF344-9909-814A-981B-164E19681488}"/>
              </a:ext>
            </a:extLst>
          </p:cNvPr>
          <p:cNvSpPr txBox="1">
            <a:spLocks/>
          </p:cNvSpPr>
          <p:nvPr/>
        </p:nvSpPr>
        <p:spPr>
          <a:xfrm>
            <a:off x="297248" y="106730"/>
            <a:ext cx="10867996" cy="5686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5400" tIns="25400" rIns="25400" bIns="25400" anchor="ctr">
            <a:noAutofit/>
          </a:bodyPr>
          <a:lstStyle>
            <a:defPPr>
              <a:defRPr lang="ru-RU"/>
            </a:defPPr>
            <a:lvl1pPr marL="6350" marR="0" indent="0" defTabSz="914377">
              <a:lnSpc>
                <a:spcPct val="80000"/>
              </a:lnSpc>
              <a:spcBef>
                <a:spcPts val="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i="0" u="none" strike="noStrike" cap="none" spc="-10" baseline="0">
                <a:solidFill>
                  <a:schemeClr val="accent1">
                    <a:lumMod val="50000"/>
                  </a:schemeClr>
                </a:solidFill>
                <a:uFillTx/>
                <a:latin typeface="+mj-lt"/>
                <a:ea typeface="+mj-ea"/>
                <a:cs typeface="Verdana"/>
              </a:defRPr>
            </a:lvl1pPr>
            <a:lvl2pPr marL="0" marR="0" indent="3429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2pPr>
            <a:lvl3pPr marL="0" marR="0" indent="6858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3pPr>
            <a:lvl4pPr marL="0" marR="0" indent="10287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4pPr>
            <a:lvl5pPr marL="0" marR="0" indent="13716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5pPr>
            <a:lvl6pPr marL="0" marR="0" indent="17145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6pPr>
            <a:lvl7pPr marL="0" marR="0" indent="20574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7pPr>
            <a:lvl8pPr marL="0" marR="0" indent="24003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8pPr>
            <a:lvl9pPr marL="0" marR="0" indent="27432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9pPr>
          </a:lstStyle>
          <a:p>
            <a:r>
              <a:rPr lang="ru-RU" b="0" dirty="0" smtClean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sym typeface="Stem"/>
              </a:rPr>
              <a:t>Требования к проекту</a:t>
            </a:r>
            <a:endParaRPr lang="ru-RU" b="0" dirty="0">
              <a:solidFill>
                <a:schemeClr val="bg2">
                  <a:lumMod val="10000"/>
                </a:schemeClr>
              </a:solidFill>
              <a:latin typeface="Stem Medium" panose="020B0503020203020204"/>
              <a:sym typeface="Stem"/>
            </a:endParaRPr>
          </a:p>
        </p:txBody>
      </p:sp>
      <p:pic>
        <p:nvPicPr>
          <p:cNvPr id="57" name="object 4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11380396" y="56637"/>
            <a:ext cx="800906" cy="834507"/>
          </a:xfrm>
          <a:prstGeom prst="rect">
            <a:avLst/>
          </a:prstGeom>
        </p:spPr>
      </p:pic>
      <p:pic>
        <p:nvPicPr>
          <p:cNvPr id="97" name="object 6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360682" y="681311"/>
            <a:ext cx="1384857" cy="51528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11877727" y="6393215"/>
            <a:ext cx="3304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5</a:t>
            </a:r>
            <a:endParaRPr lang="ru-RU" b="1" dirty="0"/>
          </a:p>
        </p:txBody>
      </p:sp>
      <p:pic>
        <p:nvPicPr>
          <p:cNvPr id="22" name="Изображение" descr="Изображение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4731" y="1153767"/>
            <a:ext cx="1310606" cy="1058707"/>
          </a:xfrm>
          <a:prstGeom prst="rect">
            <a:avLst/>
          </a:prstGeom>
          <a:ln w="12700">
            <a:miter lim="400000"/>
          </a:ln>
        </p:spPr>
      </p:pic>
      <p:sp>
        <p:nvSpPr>
          <p:cNvPr id="24" name="TextBox 23"/>
          <p:cNvSpPr txBox="1"/>
          <p:nvPr/>
        </p:nvSpPr>
        <p:spPr>
          <a:xfrm>
            <a:off x="488236" y="1250800"/>
            <a:ext cx="1287724" cy="374571"/>
          </a:xfrm>
          <a:prstGeom prst="roundRect">
            <a:avLst/>
          </a:prstGeom>
          <a:noFill/>
          <a:ln>
            <a:noFill/>
            <a:prstDash val="dashDot"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pc="-1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defRPr>
            </a:lvl1pPr>
          </a:lstStyle>
          <a:p>
            <a:pPr algn="ctr"/>
            <a:r>
              <a:rPr lang="ru-RU" sz="1600" dirty="0" smtClean="0">
                <a:solidFill>
                  <a:schemeClr val="bg1"/>
                </a:solidFill>
              </a:rPr>
              <a:t>ОРП</a:t>
            </a:r>
            <a:endParaRPr lang="ru-RU" sz="1600" dirty="0">
              <a:solidFill>
                <a:schemeClr val="bg1"/>
              </a:solidFill>
            </a:endParaRPr>
          </a:p>
        </p:txBody>
      </p:sp>
      <p:pic>
        <p:nvPicPr>
          <p:cNvPr id="25" name="1024px-Flag_of_Russia.svg.png" descr="1024px-Flag_of_Russia.svg.png">
            <a:extLst>
              <a:ext uri="{FF2B5EF4-FFF2-40B4-BE49-F238E27FC236}">
                <a16:creationId xmlns:a16="http://schemas.microsoft.com/office/drawing/2014/main" id="{8B202C7A-21C8-684D-BBF0-7878A6B6FD87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17460" t="1233" r="17460" b="1214"/>
          <a:stretch>
            <a:fillRect/>
          </a:stretch>
        </p:blipFill>
        <p:spPr>
          <a:xfrm>
            <a:off x="2077899" y="1239677"/>
            <a:ext cx="290884" cy="2908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20595" extrusionOk="0">
                <a:moveTo>
                  <a:pt x="9840" y="0"/>
                </a:moveTo>
                <a:cubicBezTo>
                  <a:pt x="7323" y="0"/>
                  <a:pt x="4802" y="1001"/>
                  <a:pt x="2881" y="3011"/>
                </a:cubicBezTo>
                <a:cubicBezTo>
                  <a:pt x="-960" y="7032"/>
                  <a:pt x="-960" y="13559"/>
                  <a:pt x="2881" y="17579"/>
                </a:cubicBezTo>
                <a:cubicBezTo>
                  <a:pt x="6722" y="21600"/>
                  <a:pt x="12958" y="21600"/>
                  <a:pt x="16799" y="17579"/>
                </a:cubicBezTo>
                <a:cubicBezTo>
                  <a:pt x="20640" y="13559"/>
                  <a:pt x="20640" y="7032"/>
                  <a:pt x="16799" y="3011"/>
                </a:cubicBezTo>
                <a:cubicBezTo>
                  <a:pt x="14878" y="1001"/>
                  <a:pt x="12357" y="0"/>
                  <a:pt x="9840" y="0"/>
                </a:cubicBezTo>
                <a:close/>
              </a:path>
            </a:pathLst>
          </a:custGeom>
          <a:ln w="12700">
            <a:solidFill>
              <a:srgbClr val="0077C8"/>
            </a:solidFill>
            <a:miter lim="400000"/>
          </a:ln>
        </p:spPr>
      </p:pic>
      <p:sp>
        <p:nvSpPr>
          <p:cNvPr id="26" name="Первый тезис…">
            <a:extLst>
              <a:ext uri="{FF2B5EF4-FFF2-40B4-BE49-F238E27FC236}">
                <a16:creationId xmlns:a16="http://schemas.microsoft.com/office/drawing/2014/main" id="{48F5D916-431D-3841-B06B-442BC0CBB85C}"/>
              </a:ext>
            </a:extLst>
          </p:cNvPr>
          <p:cNvSpPr txBox="1"/>
          <p:nvPr/>
        </p:nvSpPr>
        <p:spPr>
          <a:xfrm>
            <a:off x="2381522" y="1263765"/>
            <a:ext cx="5097440" cy="26879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50800" tIns="50800" rIns="50800" bIns="50800" anchor="t">
            <a:spAutoFit/>
          </a:bodyPr>
          <a:lstStyle/>
          <a:p>
            <a:pPr algn="l">
              <a:lnSpc>
                <a:spcPct val="90000"/>
              </a:lnSpc>
              <a:spcBef>
                <a:spcPts val="900"/>
              </a:spcBef>
              <a:defRPr>
                <a:solidFill>
                  <a:srgbClr val="000000"/>
                </a:solidFill>
                <a:latin typeface="Stem"/>
                <a:ea typeface="Stem"/>
                <a:cs typeface="Stem"/>
                <a:sym typeface="Stem"/>
              </a:defRPr>
            </a:pPr>
            <a:r>
              <a:rPr lang="ru-RU" sz="1200" b="1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Российское юридическое лицо (кроме гос. и </a:t>
            </a:r>
            <a:r>
              <a:rPr lang="ru-RU" sz="1200" b="1" spc="-10" dirty="0" err="1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мун</a:t>
            </a:r>
            <a:r>
              <a:rPr lang="ru-RU" sz="1200" b="1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. учреждений, ГУП и МУП)</a:t>
            </a:r>
          </a:p>
        </p:txBody>
      </p:sp>
      <p:sp>
        <p:nvSpPr>
          <p:cNvPr id="27" name="Первый тезис…">
            <a:extLst>
              <a:ext uri="{FF2B5EF4-FFF2-40B4-BE49-F238E27FC236}">
                <a16:creationId xmlns:a16="http://schemas.microsoft.com/office/drawing/2014/main" id="{384FF50A-7B6B-134C-BC0B-801398ABD678}"/>
              </a:ext>
            </a:extLst>
          </p:cNvPr>
          <p:cNvSpPr txBox="1"/>
          <p:nvPr/>
        </p:nvSpPr>
        <p:spPr>
          <a:xfrm>
            <a:off x="2381522" y="1620548"/>
            <a:ext cx="2624323" cy="26879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50800" tIns="50800" rIns="50800" bIns="50800" anchor="t">
            <a:spAutoFit/>
          </a:bodyPr>
          <a:lstStyle/>
          <a:p>
            <a:pPr algn="l">
              <a:lnSpc>
                <a:spcPct val="90000"/>
              </a:lnSpc>
              <a:spcBef>
                <a:spcPts val="900"/>
              </a:spcBef>
              <a:defRPr>
                <a:solidFill>
                  <a:srgbClr val="000000"/>
                </a:solidFill>
                <a:latin typeface="Stem"/>
                <a:ea typeface="Stem"/>
                <a:cs typeface="Stem"/>
                <a:sym typeface="Stem"/>
              </a:defRPr>
            </a:pPr>
            <a:r>
              <a:rPr lang="ru-RU" sz="1200" b="1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Не находится в процессе ликвидации</a:t>
            </a:r>
          </a:p>
        </p:txBody>
      </p:sp>
      <p:sp>
        <p:nvSpPr>
          <p:cNvPr id="28" name="Первый тезис…">
            <a:extLst>
              <a:ext uri="{FF2B5EF4-FFF2-40B4-BE49-F238E27FC236}">
                <a16:creationId xmlns:a16="http://schemas.microsoft.com/office/drawing/2014/main" id="{5A8AFFD4-1D0B-5B4C-94A1-CD45260795E6}"/>
              </a:ext>
            </a:extLst>
          </p:cNvPr>
          <p:cNvSpPr txBox="1"/>
          <p:nvPr/>
        </p:nvSpPr>
        <p:spPr>
          <a:xfrm>
            <a:off x="2373734" y="1944692"/>
            <a:ext cx="4184518" cy="26879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50800" tIns="50800" rIns="50800" bIns="50800" anchor="t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defRPr>
                <a:solidFill>
                  <a:srgbClr val="000000"/>
                </a:solidFill>
                <a:latin typeface="Stem"/>
                <a:ea typeface="Stem"/>
                <a:cs typeface="Stem"/>
                <a:sym typeface="Stem"/>
              </a:defRPr>
            </a:pPr>
            <a:r>
              <a:rPr lang="ru-RU" sz="1200" b="1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Не возбуждено дело о несостоятельности (банкротстве)</a:t>
            </a:r>
          </a:p>
        </p:txBody>
      </p:sp>
      <p:pic>
        <p:nvPicPr>
          <p:cNvPr id="29" name="Рисунок 68" descr="Рисунок 68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089994" y="1945005"/>
            <a:ext cx="267891" cy="267891"/>
          </a:xfrm>
          <a:prstGeom prst="rect">
            <a:avLst/>
          </a:prstGeom>
          <a:ln w="12700">
            <a:miter lim="400000"/>
          </a:ln>
        </p:spPr>
      </p:pic>
      <p:pic>
        <p:nvPicPr>
          <p:cNvPr id="30" name="Рисунок 26" descr="Рисунок 26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098065" y="1586840"/>
            <a:ext cx="260601" cy="260601"/>
          </a:xfrm>
          <a:prstGeom prst="rect">
            <a:avLst/>
          </a:prstGeom>
          <a:ln w="12700">
            <a:miter lim="400000"/>
          </a:ln>
        </p:spPr>
      </p:pic>
      <p:sp>
        <p:nvSpPr>
          <p:cNvPr id="48" name="Скругленный прямоугольник 47">
            <a:extLst>
              <a:ext uri="{FF2B5EF4-FFF2-40B4-BE49-F238E27FC236}">
                <a16:creationId xmlns:a16="http://schemas.microsoft.com/office/drawing/2014/main" id="{2DD94DF9-F084-FB4B-9B4C-2E27A3AA581E}"/>
              </a:ext>
            </a:extLst>
          </p:cNvPr>
          <p:cNvSpPr/>
          <p:nvPr/>
        </p:nvSpPr>
        <p:spPr>
          <a:xfrm>
            <a:off x="1824728" y="2499058"/>
            <a:ext cx="10220734" cy="2380674"/>
          </a:xfrm>
          <a:prstGeom prst="roundRect">
            <a:avLst/>
          </a:prstGeom>
          <a:noFill/>
          <a:ln w="9525">
            <a:solidFill>
              <a:schemeClr val="accent3">
                <a:lumMod val="60000"/>
                <a:lumOff val="40000"/>
              </a:schemeClr>
            </a:solidFill>
            <a:miter lim="400000"/>
          </a:ln>
        </p:spPr>
        <p:txBody>
          <a:bodyPr lIns="50800" tIns="50800" rIns="50800" bIns="50800" anchor="ctr"/>
          <a:lstStyle/>
          <a:p>
            <a:pPr defTabSz="825500"/>
            <a:endParaRPr lang="ru-RU" sz="2000" b="1" dirty="0">
              <a:solidFill>
                <a:schemeClr val="tx1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49" name="Первый тезис…">
            <a:extLst>
              <a:ext uri="{FF2B5EF4-FFF2-40B4-BE49-F238E27FC236}">
                <a16:creationId xmlns:a16="http://schemas.microsoft.com/office/drawing/2014/main" id="{384FF50A-7B6B-134C-BC0B-801398ABD678}"/>
              </a:ext>
            </a:extLst>
          </p:cNvPr>
          <p:cNvSpPr txBox="1"/>
          <p:nvPr/>
        </p:nvSpPr>
        <p:spPr>
          <a:xfrm>
            <a:off x="2446217" y="2666639"/>
            <a:ext cx="2383980" cy="26879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50800" tIns="50800" rIns="50800" bIns="50800" anchor="t">
            <a:spAutoFit/>
          </a:bodyPr>
          <a:lstStyle/>
          <a:p>
            <a:pPr algn="l">
              <a:lnSpc>
                <a:spcPct val="90000"/>
              </a:lnSpc>
              <a:spcBef>
                <a:spcPts val="900"/>
              </a:spcBef>
              <a:defRPr>
                <a:solidFill>
                  <a:srgbClr val="000000"/>
                </a:solidFill>
                <a:latin typeface="Stem"/>
                <a:ea typeface="Stem"/>
                <a:cs typeface="Stem"/>
                <a:sym typeface="Stem"/>
              </a:defRPr>
            </a:pPr>
            <a:r>
              <a:rPr lang="ru-RU" sz="1200" b="1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Новый инвестиционный проект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5427219" y="2901194"/>
            <a:ext cx="458777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Соблюдение одного из следующих требований:</a:t>
            </a:r>
          </a:p>
        </p:txBody>
      </p:sp>
      <p:sp>
        <p:nvSpPr>
          <p:cNvPr id="59" name="Кружок">
            <a:extLst>
              <a:ext uri="{FF2B5EF4-FFF2-40B4-BE49-F238E27FC236}">
                <a16:creationId xmlns:a16="http://schemas.microsoft.com/office/drawing/2014/main" id="{93364798-8DC7-734F-9140-EF1A9CFC1FB4}"/>
              </a:ext>
            </a:extLst>
          </p:cNvPr>
          <p:cNvSpPr/>
          <p:nvPr/>
        </p:nvSpPr>
        <p:spPr>
          <a:xfrm>
            <a:off x="2131234" y="2648036"/>
            <a:ext cx="295950" cy="295950"/>
          </a:xfrm>
          <a:prstGeom prst="ellipse">
            <a:avLst/>
          </a:prstGeom>
          <a:solidFill>
            <a:schemeClr val="bg1"/>
          </a:solidFill>
          <a:ln w="12700">
            <a:solidFill>
              <a:srgbClr val="0087C6"/>
            </a:solidFill>
            <a:miter lim="400000"/>
          </a:ln>
        </p:spPr>
        <p:txBody>
          <a:bodyPr lIns="50800" tIns="50800" rIns="50800" bIns="50800" anchor="ctr"/>
          <a:lstStyle/>
          <a:p>
            <a:pPr defTabSz="825500"/>
            <a:endParaRPr sz="1400" b="1" dirty="0">
              <a:solidFill>
                <a:srgbClr val="FFFFFF"/>
              </a:solidFill>
              <a:latin typeface="Arial Narrow" panose="020B0606020202030204" pitchFamily="34" charset="0"/>
              <a:ea typeface="Helvetica Neue Medium"/>
              <a:cs typeface="Helvetica Neue Medium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077899" y="2686935"/>
            <a:ext cx="45826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 smtClean="0">
                <a:solidFill>
                  <a:srgbClr val="0077C8"/>
                </a:solidFill>
              </a:rPr>
              <a:t>NEW</a:t>
            </a:r>
            <a:endParaRPr lang="ru-RU" sz="900" b="1" dirty="0">
              <a:solidFill>
                <a:srgbClr val="0077C8"/>
              </a:solidFill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733104" y="2943986"/>
            <a:ext cx="997867" cy="906084"/>
            <a:chOff x="7224586" y="718239"/>
            <a:chExt cx="406239" cy="406239"/>
          </a:xfrm>
        </p:grpSpPr>
        <p:sp>
          <p:nvSpPr>
            <p:cNvPr id="61" name="Кружок">
              <a:extLst>
                <a:ext uri="{FF2B5EF4-FFF2-40B4-BE49-F238E27FC236}">
                  <a16:creationId xmlns:a16="http://schemas.microsoft.com/office/drawing/2014/main" id="{93364798-8DC7-734F-9140-EF1A9CFC1FB4}"/>
                </a:ext>
              </a:extLst>
            </p:cNvPr>
            <p:cNvSpPr/>
            <p:nvPr/>
          </p:nvSpPr>
          <p:spPr>
            <a:xfrm>
              <a:off x="7224586" y="718239"/>
              <a:ext cx="406239" cy="406239"/>
            </a:xfrm>
            <a:prstGeom prst="ellipse">
              <a:avLst/>
            </a:prstGeom>
            <a:gradFill flip="none" rotWithShape="1">
              <a:gsLst>
                <a:gs pos="0">
                  <a:srgbClr val="0077C8"/>
                </a:gs>
                <a:gs pos="47598">
                  <a:srgbClr val="00A0C3"/>
                </a:gs>
                <a:gs pos="100000">
                  <a:srgbClr val="00B3A9"/>
                </a:gs>
              </a:gsLst>
              <a:lin ang="21594000" scaled="0"/>
              <a:tileRect/>
            </a:gradFill>
            <a:ln w="12700">
              <a:miter lim="400000"/>
            </a:ln>
          </p:spPr>
          <p:txBody>
            <a:bodyPr lIns="50800" tIns="50800" rIns="50800" bIns="50800" anchor="ctr"/>
            <a:lstStyle/>
            <a:p>
              <a:pPr defTabSz="825500"/>
              <a:endParaRPr sz="1400" b="1" dirty="0">
                <a:solidFill>
                  <a:srgbClr val="FFFFFF"/>
                </a:solidFill>
                <a:latin typeface="Arial Narrow" panose="020B0606020202030204" pitchFamily="34" charset="0"/>
                <a:ea typeface="Helvetica Neue Medium"/>
                <a:cs typeface="Helvetica Neue Medium"/>
              </a:endParaRPr>
            </a:p>
          </p:txBody>
        </p:sp>
        <p:grpSp>
          <p:nvGrpSpPr>
            <p:cNvPr id="62" name="Group 524"/>
            <p:cNvGrpSpPr/>
            <p:nvPr/>
          </p:nvGrpSpPr>
          <p:grpSpPr>
            <a:xfrm>
              <a:off x="7262755" y="774982"/>
              <a:ext cx="325827" cy="291887"/>
              <a:chOff x="2487613" y="1325563"/>
              <a:chExt cx="762000" cy="682625"/>
            </a:xfrm>
            <a:solidFill>
              <a:schemeClr val="bg1"/>
            </a:solidFill>
          </p:grpSpPr>
          <p:sp>
            <p:nvSpPr>
              <p:cNvPr id="63" name="Freeform 51"/>
              <p:cNvSpPr>
                <a:spLocks noEditPoints="1"/>
              </p:cNvSpPr>
              <p:nvPr/>
            </p:nvSpPr>
            <p:spPr bwMode="auto">
              <a:xfrm>
                <a:off x="2487613" y="1325563"/>
                <a:ext cx="762000" cy="682625"/>
              </a:xfrm>
              <a:custGeom>
                <a:avLst/>
                <a:gdLst/>
                <a:ahLst/>
                <a:cxnLst>
                  <a:cxn ang="0">
                    <a:pos x="296" y="0"/>
                  </a:cxn>
                  <a:cxn ang="0">
                    <a:pos x="75" y="10"/>
                  </a:cxn>
                  <a:cxn ang="0">
                    <a:pos x="70" y="212"/>
                  </a:cxn>
                  <a:cxn ang="0">
                    <a:pos x="9" y="212"/>
                  </a:cxn>
                  <a:cxn ang="0">
                    <a:pos x="44" y="273"/>
                  </a:cxn>
                  <a:cxn ang="0">
                    <a:pos x="224" y="278"/>
                  </a:cxn>
                  <a:cxn ang="0">
                    <a:pos x="221" y="277"/>
                  </a:cxn>
                  <a:cxn ang="0">
                    <a:pos x="226" y="278"/>
                  </a:cxn>
                  <a:cxn ang="0">
                    <a:pos x="296" y="0"/>
                  </a:cxn>
                  <a:cxn ang="0">
                    <a:pos x="228" y="261"/>
                  </a:cxn>
                  <a:cxn ang="0">
                    <a:pos x="225" y="261"/>
                  </a:cxn>
                  <a:cxn ang="0">
                    <a:pos x="198" y="212"/>
                  </a:cxn>
                  <a:cxn ang="0">
                    <a:pos x="91" y="212"/>
                  </a:cxn>
                  <a:cxn ang="0">
                    <a:pos x="97" y="36"/>
                  </a:cxn>
                  <a:cxn ang="0">
                    <a:pos x="276" y="27"/>
                  </a:cxn>
                  <a:cxn ang="0">
                    <a:pos x="228" y="261"/>
                  </a:cxn>
                </a:cxnLst>
                <a:rect l="0" t="0" r="r" b="b"/>
                <a:pathLst>
                  <a:path w="310" h="278">
                    <a:moveTo>
                      <a:pt x="296" y="0"/>
                    </a:moveTo>
                    <a:cubicBezTo>
                      <a:pt x="75" y="10"/>
                      <a:pt x="75" y="10"/>
                      <a:pt x="75" y="10"/>
                    </a:cubicBezTo>
                    <a:cubicBezTo>
                      <a:pt x="75" y="10"/>
                      <a:pt x="95" y="141"/>
                      <a:pt x="70" y="212"/>
                    </a:cubicBezTo>
                    <a:cubicBezTo>
                      <a:pt x="9" y="212"/>
                      <a:pt x="9" y="212"/>
                      <a:pt x="9" y="212"/>
                    </a:cubicBezTo>
                    <a:cubicBezTo>
                      <a:pt x="0" y="278"/>
                      <a:pt x="44" y="273"/>
                      <a:pt x="44" y="273"/>
                    </a:cubicBezTo>
                    <a:cubicBezTo>
                      <a:pt x="224" y="278"/>
                      <a:pt x="224" y="278"/>
                      <a:pt x="224" y="278"/>
                    </a:cubicBezTo>
                    <a:cubicBezTo>
                      <a:pt x="223" y="278"/>
                      <a:pt x="222" y="277"/>
                      <a:pt x="221" y="277"/>
                    </a:cubicBezTo>
                    <a:cubicBezTo>
                      <a:pt x="226" y="278"/>
                      <a:pt x="226" y="278"/>
                      <a:pt x="226" y="278"/>
                    </a:cubicBezTo>
                    <a:cubicBezTo>
                      <a:pt x="292" y="278"/>
                      <a:pt x="310" y="164"/>
                      <a:pt x="296" y="0"/>
                    </a:cubicBezTo>
                    <a:close/>
                    <a:moveTo>
                      <a:pt x="228" y="261"/>
                    </a:moveTo>
                    <a:cubicBezTo>
                      <a:pt x="225" y="261"/>
                      <a:pt x="225" y="261"/>
                      <a:pt x="225" y="261"/>
                    </a:cubicBezTo>
                    <a:cubicBezTo>
                      <a:pt x="200" y="259"/>
                      <a:pt x="198" y="212"/>
                      <a:pt x="198" y="212"/>
                    </a:cubicBezTo>
                    <a:cubicBezTo>
                      <a:pt x="91" y="212"/>
                      <a:pt x="91" y="212"/>
                      <a:pt x="91" y="212"/>
                    </a:cubicBezTo>
                    <a:cubicBezTo>
                      <a:pt x="105" y="147"/>
                      <a:pt x="97" y="36"/>
                      <a:pt x="97" y="36"/>
                    </a:cubicBezTo>
                    <a:cubicBezTo>
                      <a:pt x="276" y="27"/>
                      <a:pt x="276" y="27"/>
                      <a:pt x="276" y="27"/>
                    </a:cubicBezTo>
                    <a:cubicBezTo>
                      <a:pt x="295" y="151"/>
                      <a:pt x="265" y="261"/>
                      <a:pt x="228" y="26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63">
                  <a:solidFill>
                    <a:prstClr val="black"/>
                  </a:solidFill>
                </a:endParaRPr>
              </a:p>
            </p:txBody>
          </p:sp>
          <p:sp>
            <p:nvSpPr>
              <p:cNvPr id="64" name="Freeform 52"/>
              <p:cNvSpPr>
                <a:spLocks/>
              </p:cNvSpPr>
              <p:nvPr/>
            </p:nvSpPr>
            <p:spPr bwMode="auto">
              <a:xfrm>
                <a:off x="3028950" y="1560513"/>
                <a:ext cx="76200" cy="34925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0" y="2"/>
                  </a:cxn>
                  <a:cxn ang="0">
                    <a:pos x="1" y="22"/>
                  </a:cxn>
                  <a:cxn ang="0">
                    <a:pos x="48" y="20"/>
                  </a:cxn>
                  <a:cxn ang="0">
                    <a:pos x="46" y="0"/>
                  </a:cxn>
                </a:cxnLst>
                <a:rect l="0" t="0" r="r" b="b"/>
                <a:pathLst>
                  <a:path w="48" h="22">
                    <a:moveTo>
                      <a:pt x="46" y="0"/>
                    </a:moveTo>
                    <a:lnTo>
                      <a:pt x="0" y="2"/>
                    </a:lnTo>
                    <a:lnTo>
                      <a:pt x="1" y="22"/>
                    </a:lnTo>
                    <a:lnTo>
                      <a:pt x="48" y="20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63">
                  <a:solidFill>
                    <a:prstClr val="black"/>
                  </a:solidFill>
                </a:endParaRPr>
              </a:p>
            </p:txBody>
          </p:sp>
          <p:sp>
            <p:nvSpPr>
              <p:cNvPr id="66" name="Freeform 53"/>
              <p:cNvSpPr>
                <a:spLocks/>
              </p:cNvSpPr>
              <p:nvPr/>
            </p:nvSpPr>
            <p:spPr bwMode="auto">
              <a:xfrm>
                <a:off x="3025775" y="1511300"/>
                <a:ext cx="112713" cy="39687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0" y="25"/>
                  </a:cxn>
                  <a:cxn ang="0">
                    <a:pos x="71" y="20"/>
                  </a:cxn>
                  <a:cxn ang="0">
                    <a:pos x="71" y="0"/>
                  </a:cxn>
                  <a:cxn ang="0">
                    <a:pos x="0" y="5"/>
                  </a:cxn>
                </a:cxnLst>
                <a:rect l="0" t="0" r="r" b="b"/>
                <a:pathLst>
                  <a:path w="71" h="25">
                    <a:moveTo>
                      <a:pt x="0" y="5"/>
                    </a:moveTo>
                    <a:lnTo>
                      <a:pt x="0" y="25"/>
                    </a:lnTo>
                    <a:lnTo>
                      <a:pt x="71" y="20"/>
                    </a:lnTo>
                    <a:lnTo>
                      <a:pt x="71" y="0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63">
                  <a:solidFill>
                    <a:prstClr val="black"/>
                  </a:solidFill>
                </a:endParaRPr>
              </a:p>
            </p:txBody>
          </p:sp>
          <p:sp>
            <p:nvSpPr>
              <p:cNvPr id="67" name="Freeform 54"/>
              <p:cNvSpPr>
                <a:spLocks/>
              </p:cNvSpPr>
              <p:nvPr/>
            </p:nvSpPr>
            <p:spPr bwMode="auto">
              <a:xfrm>
                <a:off x="3030538" y="1722438"/>
                <a:ext cx="58738" cy="34925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22"/>
                  </a:cxn>
                  <a:cxn ang="0">
                    <a:pos x="37" y="20"/>
                  </a:cxn>
                  <a:cxn ang="0">
                    <a:pos x="37" y="0"/>
                  </a:cxn>
                  <a:cxn ang="0">
                    <a:pos x="0" y="2"/>
                  </a:cxn>
                </a:cxnLst>
                <a:rect l="0" t="0" r="r" b="b"/>
                <a:pathLst>
                  <a:path w="37" h="22">
                    <a:moveTo>
                      <a:pt x="0" y="2"/>
                    </a:moveTo>
                    <a:lnTo>
                      <a:pt x="2" y="22"/>
                    </a:lnTo>
                    <a:lnTo>
                      <a:pt x="37" y="20"/>
                    </a:lnTo>
                    <a:lnTo>
                      <a:pt x="37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63">
                  <a:solidFill>
                    <a:prstClr val="black"/>
                  </a:solidFill>
                </a:endParaRPr>
              </a:p>
            </p:txBody>
          </p:sp>
          <p:sp>
            <p:nvSpPr>
              <p:cNvPr id="68" name="Freeform 55"/>
              <p:cNvSpPr>
                <a:spLocks/>
              </p:cNvSpPr>
              <p:nvPr/>
            </p:nvSpPr>
            <p:spPr bwMode="auto">
              <a:xfrm>
                <a:off x="3028950" y="1673225"/>
                <a:ext cx="90488" cy="39687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1" y="25"/>
                  </a:cxn>
                  <a:cxn ang="0">
                    <a:pos x="57" y="22"/>
                  </a:cxn>
                  <a:cxn ang="0">
                    <a:pos x="55" y="0"/>
                  </a:cxn>
                  <a:cxn ang="0">
                    <a:pos x="0" y="5"/>
                  </a:cxn>
                </a:cxnLst>
                <a:rect l="0" t="0" r="r" b="b"/>
                <a:pathLst>
                  <a:path w="57" h="25">
                    <a:moveTo>
                      <a:pt x="0" y="5"/>
                    </a:moveTo>
                    <a:lnTo>
                      <a:pt x="1" y="25"/>
                    </a:lnTo>
                    <a:lnTo>
                      <a:pt x="57" y="22"/>
                    </a:lnTo>
                    <a:lnTo>
                      <a:pt x="55" y="0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63">
                  <a:solidFill>
                    <a:prstClr val="black"/>
                  </a:solidFill>
                </a:endParaRPr>
              </a:p>
            </p:txBody>
          </p:sp>
          <p:sp>
            <p:nvSpPr>
              <p:cNvPr id="69" name="Freeform 56"/>
              <p:cNvSpPr>
                <a:spLocks/>
              </p:cNvSpPr>
              <p:nvPr/>
            </p:nvSpPr>
            <p:spPr bwMode="auto">
              <a:xfrm>
                <a:off x="2765425" y="1471613"/>
                <a:ext cx="157163" cy="152400"/>
              </a:xfrm>
              <a:custGeom>
                <a:avLst/>
                <a:gdLst/>
                <a:ahLst/>
                <a:cxnLst>
                  <a:cxn ang="0">
                    <a:pos x="11" y="62"/>
                  </a:cxn>
                  <a:cxn ang="0">
                    <a:pos x="43" y="61"/>
                  </a:cxn>
                  <a:cxn ang="0">
                    <a:pos x="27" y="48"/>
                  </a:cxn>
                  <a:cxn ang="0">
                    <a:pos x="15" y="49"/>
                  </a:cxn>
                  <a:cxn ang="0">
                    <a:pos x="13" y="15"/>
                  </a:cxn>
                  <a:cxn ang="0">
                    <a:pos x="51" y="13"/>
                  </a:cxn>
                  <a:cxn ang="0">
                    <a:pos x="51" y="23"/>
                  </a:cxn>
                  <a:cxn ang="0">
                    <a:pos x="52" y="23"/>
                  </a:cxn>
                  <a:cxn ang="0">
                    <a:pos x="63" y="10"/>
                  </a:cxn>
                  <a:cxn ang="0">
                    <a:pos x="64" y="8"/>
                  </a:cxn>
                  <a:cxn ang="0">
                    <a:pos x="54" y="0"/>
                  </a:cxn>
                  <a:cxn ang="0">
                    <a:pos x="54" y="0"/>
                  </a:cxn>
                  <a:cxn ang="0">
                    <a:pos x="9" y="2"/>
                  </a:cxn>
                  <a:cxn ang="0">
                    <a:pos x="2" y="4"/>
                  </a:cxn>
                  <a:cxn ang="0">
                    <a:pos x="0" y="11"/>
                  </a:cxn>
                  <a:cxn ang="0">
                    <a:pos x="2" y="54"/>
                  </a:cxn>
                  <a:cxn ang="0">
                    <a:pos x="11" y="62"/>
                  </a:cxn>
                </a:cxnLst>
                <a:rect l="0" t="0" r="r" b="b"/>
                <a:pathLst>
                  <a:path w="64" h="62">
                    <a:moveTo>
                      <a:pt x="11" y="62"/>
                    </a:moveTo>
                    <a:cubicBezTo>
                      <a:pt x="43" y="61"/>
                      <a:pt x="43" y="61"/>
                      <a:pt x="43" y="61"/>
                    </a:cubicBezTo>
                    <a:cubicBezTo>
                      <a:pt x="27" y="48"/>
                      <a:pt x="27" y="48"/>
                      <a:pt x="27" y="48"/>
                    </a:cubicBezTo>
                    <a:cubicBezTo>
                      <a:pt x="15" y="49"/>
                      <a:pt x="15" y="49"/>
                      <a:pt x="15" y="49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51" y="13"/>
                      <a:pt x="51" y="13"/>
                      <a:pt x="51" y="13"/>
                    </a:cubicBezTo>
                    <a:cubicBezTo>
                      <a:pt x="51" y="23"/>
                      <a:pt x="51" y="23"/>
                      <a:pt x="51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63" y="10"/>
                      <a:pt x="63" y="10"/>
                      <a:pt x="63" y="10"/>
                    </a:cubicBezTo>
                    <a:cubicBezTo>
                      <a:pt x="63" y="9"/>
                      <a:pt x="63" y="9"/>
                      <a:pt x="64" y="8"/>
                    </a:cubicBezTo>
                    <a:cubicBezTo>
                      <a:pt x="63" y="4"/>
                      <a:pt x="60" y="0"/>
                      <a:pt x="54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6" y="2"/>
                      <a:pt x="4" y="3"/>
                      <a:pt x="2" y="4"/>
                    </a:cubicBezTo>
                    <a:cubicBezTo>
                      <a:pt x="1" y="6"/>
                      <a:pt x="0" y="9"/>
                      <a:pt x="0" y="11"/>
                    </a:cubicBezTo>
                    <a:cubicBezTo>
                      <a:pt x="2" y="54"/>
                      <a:pt x="2" y="54"/>
                      <a:pt x="2" y="54"/>
                    </a:cubicBezTo>
                    <a:cubicBezTo>
                      <a:pt x="2" y="58"/>
                      <a:pt x="6" y="62"/>
                      <a:pt x="11" y="6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63">
                  <a:solidFill>
                    <a:prstClr val="black"/>
                  </a:solidFill>
                </a:endParaRPr>
              </a:p>
            </p:txBody>
          </p:sp>
          <p:sp>
            <p:nvSpPr>
              <p:cNvPr id="70" name="Freeform 57"/>
              <p:cNvSpPr>
                <a:spLocks/>
              </p:cNvSpPr>
              <p:nvPr/>
            </p:nvSpPr>
            <p:spPr bwMode="auto">
              <a:xfrm>
                <a:off x="2828925" y="1479550"/>
                <a:ext cx="161925" cy="142875"/>
              </a:xfrm>
              <a:custGeom>
                <a:avLst/>
                <a:gdLst/>
                <a:ahLst/>
                <a:cxnLst>
                  <a:cxn ang="0">
                    <a:pos x="15" y="23"/>
                  </a:cxn>
                  <a:cxn ang="0">
                    <a:pos x="3" y="25"/>
                  </a:cxn>
                  <a:cxn ang="0">
                    <a:pos x="4" y="37"/>
                  </a:cxn>
                  <a:cxn ang="0">
                    <a:pos x="30" y="58"/>
                  </a:cxn>
                  <a:cxn ang="0">
                    <a:pos x="63" y="15"/>
                  </a:cxn>
                  <a:cxn ang="0">
                    <a:pos x="62" y="3"/>
                  </a:cxn>
                  <a:cxn ang="0">
                    <a:pos x="49" y="4"/>
                  </a:cxn>
                  <a:cxn ang="0">
                    <a:pos x="27" y="33"/>
                  </a:cxn>
                  <a:cxn ang="0">
                    <a:pos x="15" y="23"/>
                  </a:cxn>
                </a:cxnLst>
                <a:rect l="0" t="0" r="r" b="b"/>
                <a:pathLst>
                  <a:path w="66" h="58">
                    <a:moveTo>
                      <a:pt x="15" y="23"/>
                    </a:moveTo>
                    <a:cubicBezTo>
                      <a:pt x="11" y="20"/>
                      <a:pt x="6" y="21"/>
                      <a:pt x="3" y="25"/>
                    </a:cubicBezTo>
                    <a:cubicBezTo>
                      <a:pt x="0" y="28"/>
                      <a:pt x="0" y="34"/>
                      <a:pt x="4" y="37"/>
                    </a:cubicBezTo>
                    <a:cubicBezTo>
                      <a:pt x="30" y="58"/>
                      <a:pt x="30" y="58"/>
                      <a:pt x="30" y="58"/>
                    </a:cubicBezTo>
                    <a:cubicBezTo>
                      <a:pt x="63" y="15"/>
                      <a:pt x="63" y="15"/>
                      <a:pt x="63" y="15"/>
                    </a:cubicBezTo>
                    <a:cubicBezTo>
                      <a:pt x="66" y="11"/>
                      <a:pt x="66" y="6"/>
                      <a:pt x="62" y="3"/>
                    </a:cubicBezTo>
                    <a:cubicBezTo>
                      <a:pt x="58" y="0"/>
                      <a:pt x="52" y="0"/>
                      <a:pt x="49" y="4"/>
                    </a:cubicBezTo>
                    <a:cubicBezTo>
                      <a:pt x="27" y="33"/>
                      <a:pt x="27" y="33"/>
                      <a:pt x="27" y="33"/>
                    </a:cubicBezTo>
                    <a:lnTo>
                      <a:pt x="15" y="2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63">
                  <a:solidFill>
                    <a:prstClr val="black"/>
                  </a:solidFill>
                </a:endParaRPr>
              </a:p>
            </p:txBody>
          </p:sp>
          <p:sp>
            <p:nvSpPr>
              <p:cNvPr id="71" name="Freeform 58"/>
              <p:cNvSpPr>
                <a:spLocks/>
              </p:cNvSpPr>
              <p:nvPr/>
            </p:nvSpPr>
            <p:spPr bwMode="auto">
              <a:xfrm>
                <a:off x="2760663" y="1658938"/>
                <a:ext cx="161925" cy="152400"/>
              </a:xfrm>
              <a:custGeom>
                <a:avLst/>
                <a:gdLst/>
                <a:ahLst/>
                <a:cxnLst>
                  <a:cxn ang="0">
                    <a:pos x="13" y="49"/>
                  </a:cxn>
                  <a:cxn ang="0">
                    <a:pos x="15" y="14"/>
                  </a:cxn>
                  <a:cxn ang="0">
                    <a:pos x="52" y="13"/>
                  </a:cxn>
                  <a:cxn ang="0">
                    <a:pos x="52" y="21"/>
                  </a:cxn>
                  <a:cxn ang="0">
                    <a:pos x="54" y="23"/>
                  </a:cxn>
                  <a:cxn ang="0">
                    <a:pos x="65" y="9"/>
                  </a:cxn>
                  <a:cxn ang="0">
                    <a:pos x="66" y="8"/>
                  </a:cxn>
                  <a:cxn ang="0">
                    <a:pos x="63" y="2"/>
                  </a:cxn>
                  <a:cxn ang="0">
                    <a:pos x="57" y="0"/>
                  </a:cxn>
                  <a:cxn ang="0">
                    <a:pos x="11" y="1"/>
                  </a:cxn>
                  <a:cxn ang="0">
                    <a:pos x="2" y="10"/>
                  </a:cxn>
                  <a:cxn ang="0">
                    <a:pos x="0" y="53"/>
                  </a:cxn>
                  <a:cxn ang="0">
                    <a:pos x="2" y="59"/>
                  </a:cxn>
                  <a:cxn ang="0">
                    <a:pos x="9" y="62"/>
                  </a:cxn>
                  <a:cxn ang="0">
                    <a:pos x="45" y="61"/>
                  </a:cxn>
                  <a:cxn ang="0">
                    <a:pos x="29" y="48"/>
                  </a:cxn>
                  <a:cxn ang="0">
                    <a:pos x="13" y="49"/>
                  </a:cxn>
                </a:cxnLst>
                <a:rect l="0" t="0" r="r" b="b"/>
                <a:pathLst>
                  <a:path w="66" h="62">
                    <a:moveTo>
                      <a:pt x="13" y="49"/>
                    </a:moveTo>
                    <a:cubicBezTo>
                      <a:pt x="15" y="14"/>
                      <a:pt x="15" y="14"/>
                      <a:pt x="15" y="14"/>
                    </a:cubicBezTo>
                    <a:cubicBezTo>
                      <a:pt x="52" y="13"/>
                      <a:pt x="52" y="13"/>
                      <a:pt x="52" y="13"/>
                    </a:cubicBezTo>
                    <a:cubicBezTo>
                      <a:pt x="52" y="21"/>
                      <a:pt x="52" y="21"/>
                      <a:pt x="52" y="21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65" y="9"/>
                      <a:pt x="65" y="9"/>
                      <a:pt x="65" y="9"/>
                    </a:cubicBezTo>
                    <a:cubicBezTo>
                      <a:pt x="65" y="9"/>
                      <a:pt x="66" y="9"/>
                      <a:pt x="66" y="8"/>
                    </a:cubicBezTo>
                    <a:cubicBezTo>
                      <a:pt x="66" y="6"/>
                      <a:pt x="65" y="4"/>
                      <a:pt x="63" y="2"/>
                    </a:cubicBezTo>
                    <a:cubicBezTo>
                      <a:pt x="62" y="1"/>
                      <a:pt x="59" y="0"/>
                      <a:pt x="57" y="0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6" y="1"/>
                      <a:pt x="2" y="5"/>
                      <a:pt x="2" y="10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0" y="55"/>
                      <a:pt x="1" y="58"/>
                      <a:pt x="2" y="59"/>
                    </a:cubicBezTo>
                    <a:cubicBezTo>
                      <a:pt x="4" y="61"/>
                      <a:pt x="6" y="62"/>
                      <a:pt x="9" y="62"/>
                    </a:cubicBezTo>
                    <a:cubicBezTo>
                      <a:pt x="45" y="61"/>
                      <a:pt x="45" y="61"/>
                      <a:pt x="45" y="61"/>
                    </a:cubicBezTo>
                    <a:cubicBezTo>
                      <a:pt x="29" y="48"/>
                      <a:pt x="29" y="48"/>
                      <a:pt x="29" y="48"/>
                    </a:cubicBezTo>
                    <a:lnTo>
                      <a:pt x="13" y="4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63">
                  <a:solidFill>
                    <a:prstClr val="black"/>
                  </a:solidFill>
                </a:endParaRPr>
              </a:p>
            </p:txBody>
          </p:sp>
          <p:sp>
            <p:nvSpPr>
              <p:cNvPr id="72" name="Freeform 59"/>
              <p:cNvSpPr>
                <a:spLocks/>
              </p:cNvSpPr>
              <p:nvPr/>
            </p:nvSpPr>
            <p:spPr bwMode="auto">
              <a:xfrm>
                <a:off x="2828925" y="1666875"/>
                <a:ext cx="165100" cy="139700"/>
              </a:xfrm>
              <a:custGeom>
                <a:avLst/>
                <a:gdLst/>
                <a:ahLst/>
                <a:cxnLst>
                  <a:cxn ang="0">
                    <a:pos x="62" y="2"/>
                  </a:cxn>
                  <a:cxn ang="0">
                    <a:pos x="50" y="4"/>
                  </a:cxn>
                  <a:cxn ang="0">
                    <a:pos x="28" y="33"/>
                  </a:cxn>
                  <a:cxn ang="0">
                    <a:pos x="15" y="23"/>
                  </a:cxn>
                  <a:cxn ang="0">
                    <a:pos x="3" y="24"/>
                  </a:cxn>
                  <a:cxn ang="0">
                    <a:pos x="5" y="37"/>
                  </a:cxn>
                  <a:cxn ang="0">
                    <a:pos x="31" y="57"/>
                  </a:cxn>
                  <a:cxn ang="0">
                    <a:pos x="64" y="15"/>
                  </a:cxn>
                  <a:cxn ang="0">
                    <a:pos x="62" y="2"/>
                  </a:cxn>
                </a:cxnLst>
                <a:rect l="0" t="0" r="r" b="b"/>
                <a:pathLst>
                  <a:path w="67" h="57">
                    <a:moveTo>
                      <a:pt x="62" y="2"/>
                    </a:moveTo>
                    <a:cubicBezTo>
                      <a:pt x="58" y="0"/>
                      <a:pt x="53" y="0"/>
                      <a:pt x="50" y="4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15" y="23"/>
                      <a:pt x="15" y="23"/>
                      <a:pt x="15" y="23"/>
                    </a:cubicBezTo>
                    <a:cubicBezTo>
                      <a:pt x="12" y="20"/>
                      <a:pt x="6" y="20"/>
                      <a:pt x="3" y="24"/>
                    </a:cubicBezTo>
                    <a:cubicBezTo>
                      <a:pt x="0" y="28"/>
                      <a:pt x="1" y="34"/>
                      <a:pt x="5" y="37"/>
                    </a:cubicBezTo>
                    <a:cubicBezTo>
                      <a:pt x="31" y="57"/>
                      <a:pt x="31" y="57"/>
                      <a:pt x="31" y="57"/>
                    </a:cubicBezTo>
                    <a:cubicBezTo>
                      <a:pt x="64" y="15"/>
                      <a:pt x="64" y="15"/>
                      <a:pt x="64" y="15"/>
                    </a:cubicBezTo>
                    <a:cubicBezTo>
                      <a:pt x="67" y="11"/>
                      <a:pt x="66" y="5"/>
                      <a:pt x="62" y="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63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73" name="CustomShape 6"/>
          <p:cNvSpPr/>
          <p:nvPr/>
        </p:nvSpPr>
        <p:spPr>
          <a:xfrm>
            <a:off x="2098064" y="3375160"/>
            <a:ext cx="4757593" cy="1212109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noFill/>
            <a:miter lim="400000"/>
          </a:ln>
        </p:spPr>
      </p:sp>
      <p:sp>
        <p:nvSpPr>
          <p:cNvPr id="75" name="TextBox 74"/>
          <p:cNvSpPr txBox="1"/>
          <p:nvPr/>
        </p:nvSpPr>
        <p:spPr>
          <a:xfrm>
            <a:off x="2150232" y="3375160"/>
            <a:ext cx="4917183" cy="1123712"/>
          </a:xfrm>
          <a:prstGeom prst="roundRect">
            <a:avLst/>
          </a:prstGeom>
          <a:noFill/>
          <a:ln>
            <a:noFill/>
            <a:prstDash val="dashDot"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pc="-10">
                <a:solidFill>
                  <a:schemeClr val="bg1"/>
                </a:solidFill>
                <a:latin typeface="Stem Medium" panose="020B0503020203020204"/>
                <a:ea typeface="+mj-ea"/>
                <a:cs typeface="Verdana"/>
              </a:defRPr>
            </a:lvl1pPr>
          </a:lstStyle>
          <a:p>
            <a:pPr>
              <a:spcBef>
                <a:spcPts val="600"/>
              </a:spcBef>
            </a:pPr>
            <a:r>
              <a:rPr lang="ru-RU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● </a:t>
            </a:r>
            <a:r>
              <a:rPr lang="ru-RU" sz="1200" dirty="0" smtClean="0"/>
              <a:t>решение </a:t>
            </a:r>
            <a:r>
              <a:rPr lang="ru-RU" sz="1200" dirty="0"/>
              <a:t>об осуществлении инвестиционного проекта </a:t>
            </a:r>
            <a:r>
              <a:rPr lang="ru-RU" sz="1200" dirty="0" smtClean="0"/>
              <a:t>принято </a:t>
            </a:r>
            <a:br>
              <a:rPr lang="ru-RU" sz="1200" dirty="0" smtClean="0"/>
            </a:br>
            <a:r>
              <a:rPr lang="ru-RU" sz="1200" dirty="0" smtClean="0"/>
              <a:t>до принятия ФЗ-69, но не ранее 7 мая 2018 года;</a:t>
            </a:r>
            <a:endParaRPr lang="en-US" sz="1200" dirty="0" smtClean="0"/>
          </a:p>
          <a:p>
            <a:r>
              <a:rPr lang="ru-RU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● </a:t>
            </a:r>
            <a:r>
              <a:rPr lang="ru-RU" sz="1200" dirty="0" smtClean="0"/>
              <a:t>разрешение на строительство получено не ранее 7 мая 2018 года;</a:t>
            </a:r>
          </a:p>
          <a:p>
            <a:r>
              <a:rPr lang="ru-RU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● </a:t>
            </a:r>
            <a:r>
              <a:rPr lang="ru-RU" sz="1200" dirty="0" smtClean="0"/>
              <a:t>заявление </a:t>
            </a:r>
            <a:r>
              <a:rPr lang="ru-RU" sz="1200" dirty="0"/>
              <a:t>о заключении СЗПК подано не позднее 31 декабря </a:t>
            </a:r>
            <a:r>
              <a:rPr lang="ru-RU" sz="1200" dirty="0" smtClean="0"/>
              <a:t/>
            </a:r>
            <a:br>
              <a:rPr lang="ru-RU" sz="1200" dirty="0" smtClean="0"/>
            </a:br>
            <a:r>
              <a:rPr lang="ru-RU" sz="1200" dirty="0" smtClean="0"/>
              <a:t>2022 года</a:t>
            </a:r>
            <a:endParaRPr lang="ru-RU" sz="1200" dirty="0"/>
          </a:p>
        </p:txBody>
      </p:sp>
      <p:sp>
        <p:nvSpPr>
          <p:cNvPr id="78" name="CustomShape 6"/>
          <p:cNvSpPr/>
          <p:nvPr/>
        </p:nvSpPr>
        <p:spPr>
          <a:xfrm>
            <a:off x="7128993" y="3353669"/>
            <a:ext cx="4831821" cy="1233600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noFill/>
            <a:miter lim="400000"/>
          </a:ln>
        </p:spPr>
      </p:sp>
      <p:sp>
        <p:nvSpPr>
          <p:cNvPr id="79" name="TextBox 78"/>
          <p:cNvSpPr txBox="1"/>
          <p:nvPr/>
        </p:nvSpPr>
        <p:spPr>
          <a:xfrm>
            <a:off x="7252148" y="3388492"/>
            <a:ext cx="4708666" cy="1123712"/>
          </a:xfrm>
          <a:prstGeom prst="roundRect">
            <a:avLst/>
          </a:prstGeom>
          <a:noFill/>
          <a:ln>
            <a:noFill/>
            <a:prstDash val="dashDot"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pc="-10">
                <a:solidFill>
                  <a:schemeClr val="bg1"/>
                </a:solidFill>
                <a:latin typeface="Stem Medium" panose="020B0503020203020204"/>
                <a:ea typeface="+mj-ea"/>
                <a:cs typeface="Verdana"/>
              </a:defRPr>
            </a:lvl1pPr>
          </a:lstStyle>
          <a:p>
            <a:r>
              <a:rPr lang="ru-RU" sz="1200" dirty="0" smtClean="0">
                <a:latin typeface="Calibri" panose="020F0502020204030204" pitchFamily="34" charset="0"/>
                <a:cs typeface="Calibri" panose="020F0502020204030204" pitchFamily="34" charset="0"/>
              </a:rPr>
              <a:t>● </a:t>
            </a:r>
            <a:r>
              <a:rPr lang="ru-RU" sz="1200" dirty="0" smtClean="0"/>
              <a:t>решение </a:t>
            </a:r>
            <a:r>
              <a:rPr lang="ru-RU" sz="1200" dirty="0"/>
              <a:t>об утверждении бюджета принято после </a:t>
            </a:r>
            <a:r>
              <a:rPr lang="ru-RU" sz="1200" dirty="0" smtClean="0"/>
              <a:t>принятия </a:t>
            </a:r>
            <a:br>
              <a:rPr lang="ru-RU" sz="1200" dirty="0" smtClean="0"/>
            </a:br>
            <a:r>
              <a:rPr lang="ru-RU" sz="1200" dirty="0" smtClean="0"/>
              <a:t>ФЗ-69 </a:t>
            </a:r>
            <a:r>
              <a:rPr lang="ru-RU" sz="1200" dirty="0"/>
              <a:t>и не позднее 180 дней со дня получения разрешения на строительство;</a:t>
            </a:r>
          </a:p>
          <a:p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● </a:t>
            </a:r>
            <a:r>
              <a:rPr lang="ru-RU" sz="1200" dirty="0" smtClean="0"/>
              <a:t>заявление </a:t>
            </a:r>
            <a:r>
              <a:rPr lang="ru-RU" sz="1200" dirty="0"/>
              <a:t>о заключении СЗПК подано не позднее 1 года после принятия решения о </a:t>
            </a:r>
            <a:r>
              <a:rPr lang="ru-RU" sz="1200" dirty="0" smtClean="0"/>
              <a:t>бюджете</a:t>
            </a:r>
            <a:endParaRPr lang="ru-RU" sz="1200" dirty="0"/>
          </a:p>
        </p:txBody>
      </p:sp>
      <p:sp>
        <p:nvSpPr>
          <p:cNvPr id="80" name="Скругленный прямоугольник 79">
            <a:extLst>
              <a:ext uri="{FF2B5EF4-FFF2-40B4-BE49-F238E27FC236}">
                <a16:creationId xmlns:a16="http://schemas.microsoft.com/office/drawing/2014/main" id="{2DD94DF9-F084-FB4B-9B4C-2E27A3AA581E}"/>
              </a:ext>
            </a:extLst>
          </p:cNvPr>
          <p:cNvSpPr/>
          <p:nvPr/>
        </p:nvSpPr>
        <p:spPr>
          <a:xfrm>
            <a:off x="1859028" y="1139662"/>
            <a:ext cx="5864573" cy="1115969"/>
          </a:xfrm>
          <a:prstGeom prst="roundRect">
            <a:avLst/>
          </a:prstGeom>
          <a:noFill/>
          <a:ln w="9525">
            <a:solidFill>
              <a:schemeClr val="accent3">
                <a:lumMod val="60000"/>
                <a:lumOff val="40000"/>
              </a:schemeClr>
            </a:solidFill>
            <a:miter lim="400000"/>
          </a:ln>
        </p:spPr>
        <p:txBody>
          <a:bodyPr lIns="50800" tIns="50800" rIns="50800" bIns="50800" anchor="ctr"/>
          <a:lstStyle/>
          <a:p>
            <a:pPr defTabSz="825500"/>
            <a:endParaRPr lang="ru-RU" sz="2000" b="1" dirty="0">
              <a:solidFill>
                <a:schemeClr val="tx1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99" name="Рисунок 94" descr="Рисунок 94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33104" y="5187463"/>
            <a:ext cx="894104" cy="894104"/>
          </a:xfrm>
          <a:prstGeom prst="rect">
            <a:avLst/>
          </a:prstGeom>
          <a:ln w="12700">
            <a:miter lim="400000"/>
          </a:ln>
        </p:spPr>
      </p:pic>
      <p:pic>
        <p:nvPicPr>
          <p:cNvPr id="100" name="Рисунок 94" descr="Рисунок 94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309589" y="2714994"/>
            <a:ext cx="232923" cy="232923"/>
          </a:xfrm>
          <a:prstGeom prst="rect">
            <a:avLst/>
          </a:prstGeom>
          <a:ln w="12700">
            <a:miter lim="400000"/>
          </a:ln>
        </p:spPr>
      </p:pic>
      <p:sp>
        <p:nvSpPr>
          <p:cNvPr id="101" name="Скругленный прямоугольник 100">
            <a:extLst>
              <a:ext uri="{FF2B5EF4-FFF2-40B4-BE49-F238E27FC236}">
                <a16:creationId xmlns:a16="http://schemas.microsoft.com/office/drawing/2014/main" id="{2DD94DF9-F084-FB4B-9B4C-2E27A3AA581E}"/>
              </a:ext>
            </a:extLst>
          </p:cNvPr>
          <p:cNvSpPr/>
          <p:nvPr/>
        </p:nvSpPr>
        <p:spPr>
          <a:xfrm>
            <a:off x="1859028" y="5044662"/>
            <a:ext cx="4466493" cy="1349046"/>
          </a:xfrm>
          <a:prstGeom prst="roundRect">
            <a:avLst/>
          </a:prstGeom>
          <a:noFill/>
          <a:ln w="9525">
            <a:solidFill>
              <a:schemeClr val="accent3">
                <a:lumMod val="60000"/>
                <a:lumOff val="40000"/>
              </a:schemeClr>
            </a:solidFill>
            <a:miter lim="400000"/>
          </a:ln>
        </p:spPr>
        <p:txBody>
          <a:bodyPr lIns="50800" tIns="50800" rIns="50800" bIns="50800" anchor="ctr"/>
          <a:lstStyle/>
          <a:p>
            <a:pPr defTabSz="825500"/>
            <a:endParaRPr lang="ru-RU" sz="2000" b="1" dirty="0">
              <a:solidFill>
                <a:schemeClr val="tx1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02" name="Первый тезис…">
            <a:extLst>
              <a:ext uri="{FF2B5EF4-FFF2-40B4-BE49-F238E27FC236}">
                <a16:creationId xmlns:a16="http://schemas.microsoft.com/office/drawing/2014/main" id="{48F5D916-431D-3841-B06B-442BC0CBB85C}"/>
              </a:ext>
            </a:extLst>
          </p:cNvPr>
          <p:cNvSpPr txBox="1"/>
          <p:nvPr/>
        </p:nvSpPr>
        <p:spPr>
          <a:xfrm>
            <a:off x="2077088" y="5202729"/>
            <a:ext cx="3989604" cy="9982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50800" tIns="50800" rIns="50800" bIns="50800" anchor="t">
            <a:spAutoFit/>
          </a:bodyPr>
          <a:lstStyle/>
          <a:p>
            <a:pPr algn="l">
              <a:lnSpc>
                <a:spcPct val="90000"/>
              </a:lnSpc>
              <a:spcBef>
                <a:spcPts val="900"/>
              </a:spcBef>
              <a:defRPr>
                <a:solidFill>
                  <a:srgbClr val="000000"/>
                </a:solidFill>
                <a:latin typeface="Stem"/>
                <a:ea typeface="Stem"/>
                <a:cs typeface="Stem"/>
                <a:sym typeface="Stem"/>
              </a:defRPr>
            </a:pPr>
            <a:r>
              <a:rPr lang="ru-RU" sz="1200" b="1" spc="-10" dirty="0" smtClean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Объем капиталовложений:</a:t>
            </a:r>
          </a:p>
          <a:p>
            <a:pPr algn="l">
              <a:lnSpc>
                <a:spcPct val="90000"/>
              </a:lnSpc>
              <a:spcBef>
                <a:spcPts val="900"/>
              </a:spcBef>
              <a:defRPr>
                <a:solidFill>
                  <a:srgbClr val="000000"/>
                </a:solidFill>
                <a:latin typeface="Stem"/>
                <a:ea typeface="Stem"/>
                <a:cs typeface="Stem"/>
                <a:sym typeface="Stem"/>
              </a:defRPr>
            </a:pPr>
            <a:r>
              <a:rPr lang="ru-RU" sz="1200" b="1" spc="-10" dirty="0" smtClean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● от 200 млн руб. для региональных СЗПК;</a:t>
            </a:r>
          </a:p>
          <a:p>
            <a:pPr algn="l">
              <a:lnSpc>
                <a:spcPct val="90000"/>
              </a:lnSpc>
              <a:spcBef>
                <a:spcPts val="900"/>
              </a:spcBef>
              <a:defRPr>
                <a:solidFill>
                  <a:srgbClr val="000000"/>
                </a:solidFill>
                <a:latin typeface="Stem"/>
                <a:ea typeface="Stem"/>
                <a:cs typeface="Stem"/>
                <a:sym typeface="Stem"/>
              </a:defRPr>
            </a:pPr>
            <a:r>
              <a:rPr lang="ru-RU" sz="1200" b="1" spc="-10" dirty="0" smtClean="0">
                <a:solidFill>
                  <a:schemeClr val="bg2">
                    <a:lumMod val="10000"/>
                  </a:schemeClr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● </a:t>
            </a:r>
            <a:r>
              <a:rPr lang="ru-RU" sz="1200" b="1" spc="-1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ea typeface="+mj-ea"/>
                <a:cs typeface="Verdana"/>
              </a:rPr>
              <a:t>от 750 млн руб. для СЗПК стороной по которым выступает Российская Федераций</a:t>
            </a:r>
          </a:p>
        </p:txBody>
      </p:sp>
    </p:spTree>
    <p:extLst>
      <p:ext uri="{BB962C8B-B14F-4D97-AF65-F5344CB8AC3E}">
        <p14:creationId xmlns:p14="http://schemas.microsoft.com/office/powerpoint/2010/main" val="143374586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956061D0-605A-B447-A096-03350A1445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795" y="794"/>
          <a:ext cx="61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7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956061D0-605A-B447-A096-03350A144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795" y="794"/>
                        <a:ext cx="61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Главная мысль слайда">
            <a:extLst>
              <a:ext uri="{FF2B5EF4-FFF2-40B4-BE49-F238E27FC236}">
                <a16:creationId xmlns:a16="http://schemas.microsoft.com/office/drawing/2014/main" id="{091FF344-9909-814A-981B-164E19681488}"/>
              </a:ext>
            </a:extLst>
          </p:cNvPr>
          <p:cNvSpPr txBox="1">
            <a:spLocks/>
          </p:cNvSpPr>
          <p:nvPr/>
        </p:nvSpPr>
        <p:spPr>
          <a:xfrm>
            <a:off x="360682" y="98621"/>
            <a:ext cx="10595214" cy="5686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5400" tIns="25400" rIns="25400" bIns="25400" anchor="ctr">
            <a:noAutofit/>
          </a:bodyPr>
          <a:lstStyle>
            <a:defPPr>
              <a:defRPr lang="ru-RU"/>
            </a:defPPr>
            <a:lvl1pPr marL="6350" marR="0" indent="0" defTabSz="914377">
              <a:lnSpc>
                <a:spcPct val="80000"/>
              </a:lnSpc>
              <a:spcBef>
                <a:spcPts val="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-10" baseline="0">
                <a:solidFill>
                  <a:schemeClr val="bg2">
                    <a:lumMod val="10000"/>
                  </a:schemeClr>
                </a:solidFill>
                <a:uFillTx/>
                <a:latin typeface="Stem Medium" panose="020B0503020203020204"/>
                <a:ea typeface="+mj-ea"/>
                <a:cs typeface="Verdana"/>
              </a:defRPr>
            </a:lvl1pPr>
            <a:lvl2pPr marL="0" marR="0" indent="3429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2pPr>
            <a:lvl3pPr marL="0" marR="0" indent="6858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3pPr>
            <a:lvl4pPr marL="0" marR="0" indent="10287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4pPr>
            <a:lvl5pPr marL="0" marR="0" indent="13716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5pPr>
            <a:lvl6pPr marL="0" marR="0" indent="17145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6pPr>
            <a:lvl7pPr marL="0" marR="0" indent="20574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7pPr>
            <a:lvl8pPr marL="0" marR="0" indent="24003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8pPr>
            <a:lvl9pPr marL="0" marR="0" indent="27432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9pPr>
          </a:lstStyle>
          <a:p>
            <a:r>
              <a:rPr lang="ru-RU" dirty="0"/>
              <a:t>Обязательный объем капиталовложений для предоставления</a:t>
            </a:r>
            <a:r>
              <a:rPr lang="en-US" dirty="0"/>
              <a:t> </a:t>
            </a:r>
            <a:r>
              <a:rPr lang="ru-RU" dirty="0"/>
              <a:t>стабилизационной оговорки по сферам </a:t>
            </a:r>
            <a:r>
              <a:rPr lang="ru-RU" dirty="0" smtClean="0"/>
              <a:t>экономики, руб.</a:t>
            </a:r>
            <a:endParaRPr lang="ru-RU" dirty="0"/>
          </a:p>
        </p:txBody>
      </p:sp>
      <p:pic>
        <p:nvPicPr>
          <p:cNvPr id="57" name="object 4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11227996" y="191108"/>
            <a:ext cx="800906" cy="834507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2968500" y="3630077"/>
            <a:ext cx="1390849" cy="595035"/>
          </a:xfrm>
          <a:prstGeom prst="rect">
            <a:avLst/>
          </a:prstGeom>
          <a:solidFill>
            <a:srgbClr val="0089C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Stem Medium" panose="020B0503020203020204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9191071" y="2785275"/>
            <a:ext cx="1390849" cy="1440000"/>
          </a:xfrm>
          <a:prstGeom prst="rect">
            <a:avLst/>
          </a:prstGeom>
          <a:solidFill>
            <a:srgbClr val="00ADB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Stem Medium" panose="020B0503020203020204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7103822" y="3128370"/>
            <a:ext cx="1390849" cy="1116000"/>
          </a:xfrm>
          <a:prstGeom prst="rect">
            <a:avLst/>
          </a:prstGeom>
          <a:solidFill>
            <a:srgbClr val="00A5BD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Stem Medium" panose="020B0503020203020204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049109" y="3428658"/>
            <a:ext cx="1390849" cy="792000"/>
          </a:xfrm>
          <a:prstGeom prst="rect">
            <a:avLst/>
          </a:prstGeom>
          <a:solidFill>
            <a:srgbClr val="009FC3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Stem Medium" panose="020B0503020203020204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862899" y="3914550"/>
            <a:ext cx="1390849" cy="324000"/>
          </a:xfrm>
          <a:prstGeom prst="rect">
            <a:avLst/>
          </a:prstGeom>
          <a:solidFill>
            <a:srgbClr val="007BC7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Stem Medium" panose="020B0503020203020204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662986" y="2021666"/>
            <a:ext cx="2292910" cy="5950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lvl="0" algn="ctr" defTabSz="2438338" hangingPunct="0"/>
            <a: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Не менее</a:t>
            </a:r>
            <a:b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</a:br>
            <a: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10 млрд</a:t>
            </a:r>
          </a:p>
        </p:txBody>
      </p:sp>
      <p:sp>
        <p:nvSpPr>
          <p:cNvPr id="19" name="Прямоугольник 18"/>
          <p:cNvSpPr/>
          <p:nvPr/>
        </p:nvSpPr>
        <p:spPr>
          <a:xfrm rot="10800000" flipV="1">
            <a:off x="7111545" y="2446485"/>
            <a:ext cx="139084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2438338" hangingPunct="0"/>
            <a:r>
              <a:rPr lang="ru-RU" sz="1600" b="1" dirty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Не </a:t>
            </a:r>
            <a: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менее</a:t>
            </a:r>
            <a:b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</a:br>
            <a: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4,5 млрд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032019" y="2693526"/>
            <a:ext cx="1390849" cy="5950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lvl="0" algn="ctr" defTabSz="2438338" hangingPunct="0"/>
            <a:r>
              <a:rPr lang="ru-RU" sz="1600" b="1" dirty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Не менее </a:t>
            </a:r>
            <a: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/>
            </a:r>
            <a:b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</a:br>
            <a: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1,5 млрд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992230" y="2925691"/>
            <a:ext cx="1390849" cy="5950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lvl="0" algn="ctr" defTabSz="2438338" hangingPunct="0"/>
            <a:r>
              <a:rPr lang="ru-RU" sz="1600" b="1" dirty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Не </a:t>
            </a:r>
            <a: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менее</a:t>
            </a:r>
            <a:b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</a:br>
            <a: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7</a:t>
            </a:r>
            <a:r>
              <a:rPr lang="en-US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50</a:t>
            </a:r>
            <a: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 млн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904981" y="2919558"/>
            <a:ext cx="1390849" cy="59503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lvl="0" algn="ctr" defTabSz="2438338" hangingPunct="0"/>
            <a:r>
              <a:rPr lang="ru-RU" sz="1600" b="1" dirty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Не </a:t>
            </a:r>
            <a: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менее</a:t>
            </a:r>
            <a:b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</a:br>
            <a: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200 млн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901312" y="4301715"/>
            <a:ext cx="1228563" cy="8412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Stem Medium" panose="020B0503020203020204"/>
                <a:sym typeface="Helvetica Neue"/>
              </a:rPr>
              <a:t>Если стороной</a:t>
            </a:r>
          </a:p>
          <a:p>
            <a:pPr marL="0" marR="0" indent="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Stem Medium" panose="020B0503020203020204"/>
                <a:sym typeface="Helvetica Neue"/>
              </a:rPr>
              <a:t>СЗПК является</a:t>
            </a:r>
          </a:p>
          <a:p>
            <a:pPr marL="0" marR="0" indent="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spc="0" normalizeH="0" dirty="0" smtClean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Stem Medium" panose="020B0503020203020204"/>
                <a:sym typeface="Helvetica Neue"/>
              </a:rPr>
              <a:t>субъект РФ без участия РФ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5E5E5E"/>
              </a:solidFill>
              <a:effectLst/>
              <a:uFillTx/>
              <a:latin typeface="Stem Medium" panose="020B0503020203020204"/>
              <a:sym typeface="Helvetica Neue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778732" y="4228640"/>
            <a:ext cx="1895779" cy="157992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285750" marR="0" indent="-28575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0" lang="ru-RU" sz="1200" b="0" i="0" u="none" strike="noStrike" cap="none" spc="-3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Stem Medium" panose="020B0503020203020204"/>
                <a:sym typeface="Helvetica Neue"/>
              </a:rPr>
              <a:t>Здравоохранение</a:t>
            </a:r>
            <a:endParaRPr lang="ru-RU" sz="1200" spc="-30" dirty="0">
              <a:solidFill>
                <a:srgbClr val="5E5E5E"/>
              </a:solidFill>
              <a:latin typeface="Stem Medium" panose="020B0503020203020204"/>
              <a:sym typeface="Helvetica Neue"/>
            </a:endParaRPr>
          </a:p>
          <a:p>
            <a:pPr marL="285750" marR="0" indent="-28575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0" lang="ru-RU" sz="1200" b="0" i="0" u="none" strike="noStrike" cap="none" spc="0" normalizeH="0" dirty="0" smtClean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Stem Medium" panose="020B0503020203020204"/>
                <a:sym typeface="Helvetica Neue"/>
              </a:rPr>
              <a:t>Образование</a:t>
            </a:r>
          </a:p>
          <a:p>
            <a:pPr marL="285750" marR="0" indent="-28575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0" lang="ru-RU" sz="1200" b="0" i="0" u="none" strike="noStrike" cap="none" spc="0" normalizeH="0" dirty="0" smtClean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Stem Medium" panose="020B0503020203020204"/>
                <a:sym typeface="Helvetica Neue"/>
              </a:rPr>
              <a:t>Культура</a:t>
            </a:r>
          </a:p>
          <a:p>
            <a:pPr marL="285750" indent="-285750" defTabSz="2438338" hangingPunct="0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Физическая культура</a:t>
            </a:r>
          </a:p>
          <a:p>
            <a:pPr marL="285750" indent="-285750" defTabSz="2438338" hangingPunct="0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Спорт</a:t>
            </a:r>
          </a:p>
          <a:p>
            <a:pPr marL="285750" indent="-285750" defTabSz="2438338" hangingPunct="0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Комплексное развитие </a:t>
            </a:r>
            <a:r>
              <a:rPr lang="ru-RU" sz="1200" dirty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территорий</a:t>
            </a:r>
          </a:p>
          <a:p>
            <a:pPr marL="285750" indent="-285750" defTabSz="2438338" hangingPunct="0">
              <a:buFont typeface="Wingdings" panose="05000000000000000000" pitchFamily="2" charset="2"/>
              <a:buChar char="ü"/>
            </a:pPr>
            <a:endParaRPr kumimoji="0" lang="ru-RU" sz="1200" b="0" i="0" u="none" strike="noStrike" cap="none" spc="0" normalizeH="0" dirty="0" smtClean="0">
              <a:ln>
                <a:noFill/>
              </a:ln>
              <a:solidFill>
                <a:srgbClr val="5E5E5E"/>
              </a:solidFill>
              <a:effectLst/>
              <a:uFillTx/>
              <a:latin typeface="Stem Medium" panose="020B0503020203020204"/>
              <a:sym typeface="Helvetica Neue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780025" y="4191773"/>
            <a:ext cx="2152766" cy="13952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285750" marR="0" indent="-28575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0" lang="ru-RU" sz="1200" b="0" i="0" u="none" strike="noStrike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Stem Medium" panose="020B0503020203020204"/>
                <a:sym typeface="Helvetica Neue"/>
              </a:rPr>
              <a:t>Цифровая экономика</a:t>
            </a:r>
          </a:p>
          <a:p>
            <a:pPr marL="285750" marR="0" indent="-28575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0" lang="ru-RU" sz="1200" b="0" i="0" u="none" strike="noStrike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Stem Medium" panose="020B0503020203020204"/>
                <a:sym typeface="Helvetica Neue"/>
              </a:rPr>
              <a:t>Экология</a:t>
            </a:r>
          </a:p>
          <a:p>
            <a:pPr marL="285750" marR="0" indent="-28575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0" lang="ru-RU" sz="1200" b="0" i="0" u="none" strike="noStrike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Stem Medium" panose="020B0503020203020204"/>
                <a:sym typeface="Helvetica Neue"/>
              </a:rPr>
              <a:t>Сельское хозяйство</a:t>
            </a:r>
          </a:p>
          <a:p>
            <a:pPr marL="285750" marR="0" indent="-28575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lang="ru-RU" sz="1200" dirty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П</a:t>
            </a:r>
            <a:r>
              <a:rPr kumimoji="0" lang="ru-RU" sz="1200" b="0" i="0" u="none" strike="noStrike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Stem Medium" panose="020B0503020203020204"/>
                <a:sym typeface="Helvetica Neue"/>
              </a:rPr>
              <a:t>ищева</a:t>
            </a:r>
            <a:r>
              <a:rPr lang="ru-RU" sz="1200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я и перерабатывающая промышленность</a:t>
            </a:r>
          </a:p>
          <a:p>
            <a:pPr marL="285750" marR="0" indent="-28575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lang="ru-RU" sz="1200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Туризм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5E5E5E"/>
              </a:solidFill>
              <a:effectLst/>
              <a:uFillTx/>
              <a:latin typeface="Stem Medium" panose="020B0503020203020204"/>
              <a:sym typeface="Helvetica Neue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932791" y="4238550"/>
            <a:ext cx="2212622" cy="121058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285750" marR="0" indent="-28575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0" lang="ru-RU" sz="1200" b="0" i="0" u="none" strike="noStrike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Stem Medium" panose="020B0503020203020204"/>
                <a:sym typeface="Helvetica Neue"/>
              </a:rPr>
              <a:t>Обрабатывающее производство</a:t>
            </a:r>
          </a:p>
          <a:p>
            <a:pPr marL="285750" marR="0" indent="-28575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0" lang="ru-RU" sz="1200" b="0" i="0" u="none" strike="noStrike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Stem Medium" panose="020B0503020203020204"/>
                <a:sym typeface="Helvetica Neue"/>
              </a:rPr>
              <a:t>Создание аэровокзалов, общественного транспорта</a:t>
            </a:r>
          </a:p>
          <a:p>
            <a:pPr marL="285750" marR="0" indent="-28575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</a:pPr>
            <a:r>
              <a:rPr kumimoji="0" lang="ru-RU" sz="1200" b="0" i="0" u="none" strike="noStrike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Stem Medium" panose="020B0503020203020204"/>
                <a:sym typeface="Helvetica Neue"/>
              </a:rPr>
              <a:t>Торговые логистические центры 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5E5E5E"/>
              </a:solidFill>
              <a:effectLst/>
              <a:uFillTx/>
              <a:latin typeface="Stem Medium" panose="020B0503020203020204"/>
              <a:sym typeface="Helvetica Neue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9569856" y="4288992"/>
            <a:ext cx="1182034" cy="8412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П</a:t>
            </a:r>
            <a:r>
              <a:rPr kumimoji="0" lang="ru-RU" sz="1200" b="0" i="0" u="none" strike="noStrike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Stem Medium" panose="020B0503020203020204"/>
                <a:sym typeface="Helvetica Neue"/>
              </a:rPr>
              <a:t>роекты вне зависимости</a:t>
            </a:r>
          </a:p>
          <a:p>
            <a:pPr marL="0" marR="0" indent="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Stem Medium" panose="020B0503020203020204"/>
                <a:sym typeface="Helvetica Neue"/>
              </a:rPr>
              <a:t>от сферы</a:t>
            </a:r>
          </a:p>
          <a:p>
            <a:pPr marL="0" marR="0" indent="0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spc="0" normalizeH="0" baseline="0" dirty="0" smtClean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Stem Medium" panose="020B0503020203020204"/>
                <a:sym typeface="Helvetica Neue"/>
              </a:rPr>
              <a:t>экономики</a:t>
            </a:r>
            <a:endParaRPr kumimoji="0" lang="ru-RU" sz="1200" b="0" i="0" u="none" strike="noStrike" cap="none" spc="0" normalizeH="0" baseline="0" dirty="0">
              <a:ln>
                <a:noFill/>
              </a:ln>
              <a:solidFill>
                <a:srgbClr val="5E5E5E"/>
              </a:solidFill>
              <a:effectLst/>
              <a:uFillTx/>
              <a:latin typeface="Stem Medium" panose="020B0503020203020204"/>
              <a:sym typeface="Helvetica Neue"/>
            </a:endParaRPr>
          </a:p>
        </p:txBody>
      </p:sp>
      <p:sp>
        <p:nvSpPr>
          <p:cNvPr id="6" name="Левая фигурная скобка 5"/>
          <p:cNvSpPr/>
          <p:nvPr/>
        </p:nvSpPr>
        <p:spPr>
          <a:xfrm rot="5400000">
            <a:off x="6515913" y="-2410560"/>
            <a:ext cx="359075" cy="8112878"/>
          </a:xfrm>
          <a:prstGeom prst="leftBrace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Stem Medium" panose="020B0503020203020204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899619" y="1072673"/>
            <a:ext cx="7591661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600" b="1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Сторонами являются: РФ, субъект РФ, МСУ (при согласии)</a:t>
            </a:r>
            <a:endParaRPr kumimoji="0" lang="ru-RU" sz="1600" b="1" i="0" u="none" strike="noStrike" cap="none" spc="0" normalizeH="0" baseline="0" dirty="0">
              <a:ln>
                <a:noFill/>
              </a:ln>
              <a:solidFill>
                <a:srgbClr val="5E5E5E"/>
              </a:solidFill>
              <a:effectLst/>
              <a:uFillTx/>
              <a:latin typeface="Stem Medium" panose="020B0503020203020204"/>
              <a:sym typeface="Helvetica Neue"/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398067" y="5652613"/>
            <a:ext cx="10865176" cy="306467"/>
          </a:xfrm>
          <a:prstGeom prst="roundRect">
            <a:avLst/>
          </a:prstGeom>
          <a:ln w="3175">
            <a:solidFill>
              <a:schemeClr val="accent1"/>
            </a:solidFill>
            <a:prstDash val="dashDot"/>
          </a:ln>
        </p:spPr>
        <p:txBody>
          <a:bodyPr wrap="square">
            <a:spAutoFit/>
          </a:bodyPr>
          <a:lstStyle/>
          <a:p>
            <a:pPr defTabSz="1219169" hangingPunct="0"/>
            <a:r>
              <a:rPr lang="ru-RU" sz="1200" b="1" dirty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Капиталовложения</a:t>
            </a:r>
            <a:r>
              <a:rPr lang="ru-RU" sz="1100" kern="0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 - </a:t>
            </a:r>
            <a:r>
              <a:rPr lang="ru-RU" sz="1200" dirty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вложенные в инвестиционный проект </a:t>
            </a:r>
            <a:r>
              <a:rPr lang="ru-RU" sz="1200" dirty="0" smtClean="0">
                <a:solidFill>
                  <a:srgbClr val="5E5E5E"/>
                </a:solidFill>
                <a:latin typeface="Stem Medium" panose="020B0503020203020204"/>
                <a:sym typeface="Helvetica Neue"/>
              </a:rPr>
              <a:t>денежные средства ОРП, включая заемные средства</a:t>
            </a:r>
            <a:endParaRPr lang="ru-RU" sz="1200" kern="0" dirty="0">
              <a:solidFill>
                <a:srgbClr val="5E5E5E"/>
              </a:solidFill>
              <a:latin typeface="Stem Medium" panose="020B0503020203020204"/>
              <a:sym typeface="Helvetica Neue"/>
            </a:endParaRPr>
          </a:p>
        </p:txBody>
      </p:sp>
      <p:pic>
        <p:nvPicPr>
          <p:cNvPr id="28" name="object 6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360682" y="681311"/>
            <a:ext cx="1384857" cy="51528"/>
          </a:xfrm>
          <a:prstGeom prst="rect">
            <a:avLst/>
          </a:prstGeom>
        </p:spPr>
      </p:pic>
      <p:sp>
        <p:nvSpPr>
          <p:cNvPr id="30" name="Скругленный прямоугольник 29"/>
          <p:cNvSpPr/>
          <p:nvPr/>
        </p:nvSpPr>
        <p:spPr>
          <a:xfrm>
            <a:off x="398067" y="6137109"/>
            <a:ext cx="10867313" cy="510778"/>
          </a:xfrm>
          <a:prstGeom prst="roundRect">
            <a:avLst/>
          </a:prstGeom>
          <a:ln w="3175">
            <a:solidFill>
              <a:schemeClr val="accent1"/>
            </a:solidFill>
            <a:prstDash val="dashDot"/>
          </a:ln>
        </p:spPr>
        <p:txBody>
          <a:bodyPr wrap="square">
            <a:spAutoFit/>
          </a:bodyPr>
          <a:lstStyle/>
          <a:p>
            <a:pPr algn="just" defTabSz="1219169" hangingPunct="0"/>
            <a:r>
              <a:rPr lang="ru-RU" sz="1200" b="1" kern="0" dirty="0" smtClean="0">
                <a:latin typeface="Stem Medium" panose="020B0503020203020204"/>
                <a:sym typeface="Helvetica Neue"/>
              </a:rPr>
              <a:t>Неосуществление капиталовложений в </a:t>
            </a:r>
            <a:r>
              <a:rPr lang="ru-RU" sz="1200" b="1" kern="0" dirty="0">
                <a:latin typeface="Stem Medium" panose="020B0503020203020204"/>
                <a:sym typeface="Helvetica Neue"/>
              </a:rPr>
              <a:t>течение более чем </a:t>
            </a:r>
            <a:r>
              <a:rPr lang="ru-RU" sz="1200" b="1" kern="0" dirty="0" smtClean="0">
                <a:latin typeface="Stem Medium" panose="020B0503020203020204"/>
                <a:sym typeface="Helvetica Neue"/>
              </a:rPr>
              <a:t>2 </a:t>
            </a:r>
            <a:r>
              <a:rPr lang="ru-RU" sz="1200" b="1" kern="0" dirty="0">
                <a:latin typeface="Stem Medium" panose="020B0503020203020204"/>
                <a:sym typeface="Helvetica Neue"/>
              </a:rPr>
              <a:t>лет </a:t>
            </a:r>
            <a:r>
              <a:rPr lang="ru-RU" sz="1200" kern="0" dirty="0">
                <a:latin typeface="Stem Medium" panose="020B0503020203020204"/>
                <a:sym typeface="Helvetica Neue"/>
              </a:rPr>
              <a:t>по </a:t>
            </a:r>
            <a:r>
              <a:rPr lang="ru-RU" sz="1200" kern="0" dirty="0" smtClean="0">
                <a:latin typeface="Stem Medium" panose="020B0503020203020204"/>
                <a:sym typeface="Helvetica Neue"/>
              </a:rPr>
              <a:t>истечении предусмотренного </a:t>
            </a:r>
            <a:r>
              <a:rPr lang="ru-RU" sz="1200" kern="0" dirty="0">
                <a:latin typeface="Stem Medium" panose="020B0503020203020204"/>
                <a:sym typeface="Helvetica Neue"/>
              </a:rPr>
              <a:t>соглашением срока осуществления </a:t>
            </a:r>
            <a:r>
              <a:rPr lang="ru-RU" sz="1200" kern="0" dirty="0" smtClean="0">
                <a:latin typeface="Stem Medium" panose="020B0503020203020204"/>
                <a:sym typeface="Helvetica Neue"/>
              </a:rPr>
              <a:t>капиталовложений </a:t>
            </a:r>
            <a:r>
              <a:rPr lang="ru-RU" sz="1200" b="1" kern="0" dirty="0" smtClean="0">
                <a:latin typeface="Stem Medium" panose="020B0503020203020204"/>
                <a:sym typeface="Helvetica Neue"/>
              </a:rPr>
              <a:t>влечет расторжение СЗПК</a:t>
            </a:r>
            <a:r>
              <a:rPr lang="ru-RU" sz="1200" kern="0" dirty="0" smtClean="0">
                <a:latin typeface="Stem Medium" panose="020B0503020203020204"/>
                <a:sym typeface="Helvetica Neue"/>
              </a:rPr>
              <a:t> </a:t>
            </a:r>
            <a:endParaRPr lang="ru-RU" sz="1200" kern="0" dirty="0">
              <a:latin typeface="Stem Medium" panose="020B0503020203020204"/>
              <a:sym typeface="Helvetica Neue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1826679" y="6477177"/>
            <a:ext cx="5635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6</a:t>
            </a:r>
            <a:endParaRPr lang="ru-RU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586200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" name="Прямая соединительная линия 31"/>
          <p:cNvCxnSpPr/>
          <p:nvPr/>
        </p:nvCxnSpPr>
        <p:spPr>
          <a:xfrm flipV="1">
            <a:off x="502967" y="3039325"/>
            <a:ext cx="3437378" cy="1"/>
          </a:xfrm>
          <a:prstGeom prst="line">
            <a:avLst/>
          </a:prstGeom>
          <a:ln>
            <a:solidFill>
              <a:srgbClr val="00ADB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 flipV="1">
            <a:off x="502967" y="1835799"/>
            <a:ext cx="3437378" cy="1"/>
          </a:xfrm>
          <a:prstGeom prst="line">
            <a:avLst/>
          </a:prstGeom>
          <a:ln>
            <a:solidFill>
              <a:srgbClr val="007BC7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956061D0-605A-B447-A096-03350A1445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795" y="794"/>
          <a:ext cx="61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6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956061D0-605A-B447-A096-03350A1445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795" y="794"/>
                        <a:ext cx="61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Главная мысль слайда">
            <a:extLst>
              <a:ext uri="{FF2B5EF4-FFF2-40B4-BE49-F238E27FC236}">
                <a16:creationId xmlns:a16="http://schemas.microsoft.com/office/drawing/2014/main" id="{091FF344-9909-814A-981B-164E19681488}"/>
              </a:ext>
            </a:extLst>
          </p:cNvPr>
          <p:cNvSpPr txBox="1">
            <a:spLocks/>
          </p:cNvSpPr>
          <p:nvPr/>
        </p:nvSpPr>
        <p:spPr>
          <a:xfrm>
            <a:off x="360682" y="125721"/>
            <a:ext cx="10595214" cy="5686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5400" tIns="25400" rIns="25400" bIns="25400" anchor="ctr">
            <a:noAutofit/>
          </a:bodyPr>
          <a:lstStyle>
            <a:defPPr>
              <a:defRPr lang="ru-RU"/>
            </a:defPPr>
            <a:lvl1pPr marL="6350" marR="0" indent="0" defTabSz="914377">
              <a:lnSpc>
                <a:spcPct val="80000"/>
              </a:lnSpc>
              <a:spcBef>
                <a:spcPts val="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i="0" u="none" strike="noStrike" cap="none" spc="-10" baseline="0">
                <a:solidFill>
                  <a:schemeClr val="accent1">
                    <a:lumMod val="50000"/>
                  </a:schemeClr>
                </a:solidFill>
                <a:uFillTx/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defRPr>
            </a:lvl1pPr>
            <a:lvl2pPr marL="0" marR="0" indent="3429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2pPr>
            <a:lvl3pPr marL="0" marR="0" indent="6858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3pPr>
            <a:lvl4pPr marL="0" marR="0" indent="10287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4pPr>
            <a:lvl5pPr marL="0" marR="0" indent="13716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5pPr>
            <a:lvl6pPr marL="0" marR="0" indent="17145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6pPr>
            <a:lvl7pPr marL="0" marR="0" indent="20574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7pPr>
            <a:lvl8pPr marL="0" marR="0" indent="24003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8pPr>
            <a:lvl9pPr marL="0" marR="0" indent="27432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9pPr>
          </a:lstStyle>
          <a:p>
            <a:r>
              <a:rPr lang="ru-RU" b="0" dirty="0">
                <a:solidFill>
                  <a:schemeClr val="bg2">
                    <a:lumMod val="10000"/>
                  </a:schemeClr>
                </a:solidFill>
                <a:latin typeface="Stem Medium" panose="020B0503020203020204"/>
                <a:cs typeface="Verdana"/>
                <a:sym typeface="Stem"/>
              </a:rPr>
              <a:t>Стабилизационная оговорка</a:t>
            </a:r>
          </a:p>
        </p:txBody>
      </p:sp>
      <p:pic>
        <p:nvPicPr>
          <p:cNvPr id="57" name="object 4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11335573" y="38708"/>
            <a:ext cx="800906" cy="834507"/>
          </a:xfrm>
          <a:prstGeom prst="rect">
            <a:avLst/>
          </a:prstGeom>
        </p:spPr>
      </p:pic>
      <p:pic>
        <p:nvPicPr>
          <p:cNvPr id="28" name="object 6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360682" y="681311"/>
            <a:ext cx="1384857" cy="51528"/>
          </a:xfrm>
          <a:prstGeom prst="rect">
            <a:avLst/>
          </a:prstGeom>
        </p:spPr>
      </p:pic>
      <p:sp>
        <p:nvSpPr>
          <p:cNvPr id="29" name="CustomShape 6"/>
          <p:cNvSpPr/>
          <p:nvPr/>
        </p:nvSpPr>
        <p:spPr>
          <a:xfrm>
            <a:off x="1066800" y="1242140"/>
            <a:ext cx="3161657" cy="436016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miter lim="400000"/>
          </a:ln>
        </p:spPr>
      </p:sp>
      <p:sp>
        <p:nvSpPr>
          <p:cNvPr id="30" name="TextBox 29"/>
          <p:cNvSpPr txBox="1"/>
          <p:nvPr/>
        </p:nvSpPr>
        <p:spPr>
          <a:xfrm>
            <a:off x="1091059" y="1288429"/>
            <a:ext cx="31131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spc="-10" dirty="0">
                <a:solidFill>
                  <a:schemeClr val="bg1"/>
                </a:solidFill>
                <a:latin typeface="Stem Medium" panose="020B0503020203020204"/>
                <a:ea typeface="+mj-ea"/>
                <a:cs typeface="Verdana"/>
              </a:rPr>
              <a:t>Отдельные законодательные акты</a:t>
            </a:r>
          </a:p>
        </p:txBody>
      </p:sp>
      <p:sp>
        <p:nvSpPr>
          <p:cNvPr id="33" name="CustomShape 6"/>
          <p:cNvSpPr/>
          <p:nvPr/>
        </p:nvSpPr>
        <p:spPr>
          <a:xfrm>
            <a:off x="4639043" y="1231215"/>
            <a:ext cx="3412314" cy="436016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miter lim="400000"/>
          </a:ln>
        </p:spPr>
      </p:sp>
      <p:sp>
        <p:nvSpPr>
          <p:cNvPr id="34" name="TextBox 33"/>
          <p:cNvSpPr txBox="1"/>
          <p:nvPr/>
        </p:nvSpPr>
        <p:spPr>
          <a:xfrm>
            <a:off x="4680555" y="1263825"/>
            <a:ext cx="33300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spc="-10" dirty="0">
                <a:solidFill>
                  <a:schemeClr val="bg1"/>
                </a:solidFill>
                <a:latin typeface="Stem Medium" panose="020B0503020203020204"/>
                <a:ea typeface="+mj-ea"/>
                <a:cs typeface="Verdana"/>
              </a:rPr>
              <a:t>Акты налогового законодательства</a:t>
            </a:r>
          </a:p>
        </p:txBody>
      </p:sp>
      <p:sp>
        <p:nvSpPr>
          <p:cNvPr id="35" name="CustomShape 6"/>
          <p:cNvSpPr/>
          <p:nvPr/>
        </p:nvSpPr>
        <p:spPr>
          <a:xfrm>
            <a:off x="8291448" y="1207009"/>
            <a:ext cx="3362670" cy="495110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miter lim="400000"/>
          </a:ln>
        </p:spPr>
      </p:sp>
      <p:sp>
        <p:nvSpPr>
          <p:cNvPr id="36" name="TextBox 35"/>
          <p:cNvSpPr txBox="1"/>
          <p:nvPr/>
        </p:nvSpPr>
        <p:spPr>
          <a:xfrm>
            <a:off x="8482311" y="1263824"/>
            <a:ext cx="29809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spc="-10" dirty="0">
                <a:solidFill>
                  <a:schemeClr val="bg1"/>
                </a:solidFill>
                <a:latin typeface="Stem Medium" panose="020B0503020203020204"/>
                <a:ea typeface="+mj-ea"/>
                <a:cs typeface="Verdana"/>
              </a:rPr>
              <a:t>Меры государственной поддержки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4680555" y="1834054"/>
            <a:ext cx="3136361" cy="167225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171450" indent="-171450" defTabSz="2438338" hangingPunct="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spc="-1" dirty="0">
                <a:latin typeface="Stem Medium" panose="020B0503020203020204"/>
                <a:sym typeface="Helvetica Neue"/>
              </a:rPr>
              <a:t>Налог на имущество организаций;</a:t>
            </a:r>
          </a:p>
          <a:p>
            <a:pPr marL="171450" indent="-171450" defTabSz="2438338" hangingPunct="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spc="-1" dirty="0">
                <a:latin typeface="Stem Medium" panose="020B0503020203020204"/>
                <a:sym typeface="Helvetica Neue"/>
              </a:rPr>
              <a:t>Земельный налог;</a:t>
            </a:r>
          </a:p>
          <a:p>
            <a:pPr marL="171450" indent="-171450" defTabSz="2438338" hangingPunct="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spc="-1" dirty="0">
                <a:latin typeface="Stem Medium" panose="020B0503020203020204"/>
                <a:sym typeface="Helvetica Neue"/>
              </a:rPr>
              <a:t>Налог на прибыль; </a:t>
            </a:r>
          </a:p>
          <a:p>
            <a:pPr marL="171450" indent="-171450" defTabSz="2438338" hangingPunct="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spc="-1" dirty="0">
                <a:latin typeface="Stem Medium" panose="020B0503020203020204"/>
                <a:sym typeface="Helvetica Neue"/>
              </a:rPr>
              <a:t>Налог на добавленную стоимость;</a:t>
            </a:r>
          </a:p>
          <a:p>
            <a:pPr marL="171450" indent="-171450" defTabSz="2438338" hangingPunct="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spc="-1" dirty="0">
                <a:latin typeface="Stem Medium" panose="020B0503020203020204"/>
                <a:sym typeface="Helvetica Neue"/>
              </a:rPr>
              <a:t>Новые налоги и сборы;</a:t>
            </a:r>
          </a:p>
          <a:p>
            <a:pPr marL="171450" indent="-171450" defTabSz="2438338" hangingPunct="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spc="-1" dirty="0">
                <a:latin typeface="Stem Medium" panose="020B0503020203020204"/>
                <a:sym typeface="Helvetica Neue"/>
              </a:rPr>
              <a:t>Транспортный налог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8350354" y="1834054"/>
            <a:ext cx="3448424" cy="18876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R="0" defTabSz="2438338" fontAlgn="auto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</a:pPr>
            <a:r>
              <a:rPr lang="ru-RU" sz="1200" spc="-1" dirty="0">
                <a:latin typeface="Stem Medium" panose="020B0503020203020204"/>
                <a:sym typeface="Helvetica Neue"/>
              </a:rPr>
              <a:t>Акты, регулирующие предоставление мер по связанным договорам:</a:t>
            </a:r>
          </a:p>
          <a:p>
            <a:pPr marL="171450" marR="0" indent="-171450" defTabSz="2438338" fontAlgn="auto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ru-RU" sz="1200" spc="-1" dirty="0">
                <a:latin typeface="Stem Medium" panose="020B0503020203020204"/>
                <a:sym typeface="Helvetica Neue"/>
              </a:rPr>
              <a:t>Договоры о предоставлении субсидий, бюджетных инвестиций;</a:t>
            </a:r>
          </a:p>
          <a:p>
            <a:pPr marL="171450" marR="0" indent="-171450" defTabSz="2438338" fontAlgn="auto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ru-RU" sz="1200" spc="-1" dirty="0">
                <a:latin typeface="Stem Medium" panose="020B0503020203020204"/>
                <a:sym typeface="Helvetica Neue"/>
              </a:rPr>
              <a:t>Кредитные договоры по льготной ставке за счет средств бюджета;</a:t>
            </a:r>
          </a:p>
          <a:p>
            <a:pPr marL="171450" marR="0" indent="-171450" defTabSz="2438338" fontAlgn="auto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ru-RU" sz="1200" spc="-1" dirty="0">
                <a:latin typeface="Stem Medium" panose="020B0503020203020204"/>
                <a:sym typeface="Helvetica Neue"/>
              </a:rPr>
              <a:t>Договоры между регулируемой организацией и ОРП</a:t>
            </a:r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>
            <a:off x="4350930" y="1080920"/>
            <a:ext cx="28623" cy="566616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8097756" y="1080920"/>
            <a:ext cx="15027" cy="2939781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1" name="Таблица 33"/>
          <p:cNvGraphicFramePr/>
          <p:nvPr>
            <p:extLst>
              <p:ext uri="{D42A27DB-BD31-4B8C-83A1-F6EECF244321}">
                <p14:modId xmlns:p14="http://schemas.microsoft.com/office/powerpoint/2010/main" val="14165718"/>
              </p:ext>
            </p:extLst>
          </p:nvPr>
        </p:nvGraphicFramePr>
        <p:xfrm>
          <a:off x="4790138" y="4101796"/>
          <a:ext cx="7008640" cy="1757680"/>
        </p:xfrm>
        <a:graphic>
          <a:graphicData uri="http://schemas.openxmlformats.org/drawingml/2006/table">
            <a:tbl>
              <a:tblPr firstRow="1" bandRow="1"/>
              <a:tblGrid>
                <a:gridCol w="38997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089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69174">
                <a:tc>
                  <a:txBody>
                    <a:bodyPr/>
                    <a:lstStyle/>
                    <a:p>
                      <a:pPr algn="ctr" defTabSz="1828800">
                        <a:defRPr b="0"/>
                      </a:pPr>
                      <a:r>
                        <a:rPr lang="ru-RU" sz="1600" b="0" i="0" dirty="0">
                          <a:solidFill>
                            <a:srgbClr val="0077C8"/>
                          </a:solidFill>
                          <a:latin typeface="Stem Medium" panose="020B0503020203020204" pitchFamily="34" charset="0"/>
                          <a:ea typeface="Stem Medium" panose="020B0503020203020204" pitchFamily="34" charset="0"/>
                          <a:cs typeface="Stem"/>
                          <a:sym typeface="Stem"/>
                        </a:rPr>
                        <a:t>Максимально</a:t>
                      </a:r>
                      <a:r>
                        <a:rPr lang="ru-RU" sz="1600" b="0" i="0" baseline="0" dirty="0">
                          <a:solidFill>
                            <a:srgbClr val="0077C8"/>
                          </a:solidFill>
                          <a:latin typeface="Stem Medium" panose="020B0503020203020204" pitchFamily="34" charset="0"/>
                          <a:ea typeface="Stem Medium" panose="020B0503020203020204" pitchFamily="34" charset="0"/>
                          <a:cs typeface="Stem"/>
                          <a:sym typeface="Stem"/>
                        </a:rPr>
                        <a:t> допустимый срок стабилизационной оговорки</a:t>
                      </a:r>
                      <a:endParaRPr sz="1600" b="0" i="0" dirty="0">
                        <a:solidFill>
                          <a:srgbClr val="0077C8"/>
                        </a:solidFill>
                        <a:latin typeface="Stem Medium" panose="020B0503020203020204" pitchFamily="34" charset="0"/>
                        <a:ea typeface="Stem Medium" panose="020B0503020203020204" pitchFamily="34" charset="0"/>
                        <a:cs typeface="Stem"/>
                        <a:sym typeface="Stem"/>
                      </a:endParaRPr>
                    </a:p>
                  </a:txBody>
                  <a:tcPr marL="45720" marR="45720" anchor="ctr" horzOverflow="overflow">
                    <a:lnL w="0">
                      <a:miter lim="400000"/>
                    </a:lnL>
                    <a:lnR w="0">
                      <a:miter lim="400000"/>
                    </a:lnR>
                    <a:lnT w="0">
                      <a:miter lim="400000"/>
                    </a:lnT>
                    <a:lnB w="12700">
                      <a:solidFill>
                        <a:srgbClr val="0077C8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algn="ctr" defTabSz="1828800">
                        <a:defRPr b="0"/>
                      </a:pPr>
                      <a:r>
                        <a:rPr lang="ru-RU" sz="1600" b="0" i="0" dirty="0">
                          <a:solidFill>
                            <a:srgbClr val="0077C8"/>
                          </a:solidFill>
                          <a:latin typeface="Stem Medium" panose="020B0503020203020204" pitchFamily="34" charset="0"/>
                          <a:ea typeface="Stem Medium" panose="020B0503020203020204" pitchFamily="34" charset="0"/>
                          <a:cs typeface="Stem"/>
                          <a:sym typeface="Stem"/>
                        </a:rPr>
                        <a:t>Требуемый объем </a:t>
                      </a:r>
                      <a:r>
                        <a:rPr lang="ru-RU" sz="1600" b="0" i="0" dirty="0" smtClean="0">
                          <a:solidFill>
                            <a:srgbClr val="0077C8"/>
                          </a:solidFill>
                          <a:latin typeface="Stem Medium" panose="020B0503020203020204" pitchFamily="34" charset="0"/>
                          <a:ea typeface="Stem Medium" panose="020B0503020203020204" pitchFamily="34" charset="0"/>
                          <a:cs typeface="Stem"/>
                          <a:sym typeface="Stem"/>
                        </a:rPr>
                        <a:t>капиталовложений</a:t>
                      </a:r>
                      <a:endParaRPr sz="1600" b="0" i="0" dirty="0">
                        <a:solidFill>
                          <a:srgbClr val="0077C8"/>
                        </a:solidFill>
                        <a:latin typeface="Stem Medium" panose="020B0503020203020204" pitchFamily="34" charset="0"/>
                        <a:ea typeface="Stem Medium" panose="020B0503020203020204" pitchFamily="34" charset="0"/>
                        <a:cs typeface="Stem"/>
                        <a:sym typeface="Stem"/>
                      </a:endParaRPr>
                    </a:p>
                  </a:txBody>
                  <a:tcPr marL="45720" marR="45720" anchor="ctr" horzOverflow="overflow">
                    <a:lnL w="0">
                      <a:miter lim="400000"/>
                    </a:lnL>
                    <a:lnR w="0">
                      <a:miter lim="400000"/>
                    </a:lnR>
                    <a:lnT w="0">
                      <a:miter lim="400000"/>
                    </a:lnT>
                    <a:lnB w="12700">
                      <a:solidFill>
                        <a:srgbClr val="0077C8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5562">
                <a:tc>
                  <a:txBody>
                    <a:bodyPr/>
                    <a:lstStyle/>
                    <a:p>
                      <a:pPr algn="ctr" defTabSz="1828800">
                        <a:lnSpc>
                          <a:spcPct val="107000"/>
                        </a:lnSpc>
                      </a:pPr>
                      <a:r>
                        <a:rPr lang="ru-RU" sz="1400" dirty="0">
                          <a:latin typeface="Stem"/>
                          <a:ea typeface="Stem"/>
                          <a:cs typeface="Stem"/>
                          <a:sym typeface="Stem"/>
                        </a:rPr>
                        <a:t>6 лет</a:t>
                      </a:r>
                      <a:endParaRPr sz="1400" dirty="0">
                        <a:latin typeface="Stem"/>
                        <a:ea typeface="Stem"/>
                        <a:cs typeface="Stem"/>
                        <a:sym typeface="Stem"/>
                      </a:endParaRPr>
                    </a:p>
                  </a:txBody>
                  <a:tcPr marL="0" marR="0" marT="0" marB="0" anchor="ctr" horzOverflow="overflow">
                    <a:lnL w="0">
                      <a:miter lim="400000"/>
                    </a:lnL>
                    <a:lnR w="0">
                      <a:noFill/>
                      <a:miter lim="400000"/>
                    </a:lnR>
                    <a:lnT w="12700" cap="flat" cmpd="sng" algn="ctr">
                      <a:solidFill>
                        <a:srgbClr val="0077C8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T>
                    <a:lnB w="12700">
                      <a:solidFill>
                        <a:srgbClr val="AFAFAF"/>
                      </a:solidFill>
                      <a:custDash>
                        <a:ds d="100000" sp="200000"/>
                      </a:custDash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828800">
                        <a:lnSpc>
                          <a:spcPct val="107000"/>
                        </a:lnSpc>
                      </a:pPr>
                      <a:r>
                        <a:rPr lang="ru-RU" sz="1400" dirty="0">
                          <a:latin typeface="Stem"/>
                          <a:ea typeface="Stem"/>
                          <a:cs typeface="Stem"/>
                          <a:sym typeface="Stem"/>
                        </a:rPr>
                        <a:t>до 10 </a:t>
                      </a:r>
                      <a:r>
                        <a:rPr lang="ru-RU" sz="1400" dirty="0" smtClean="0">
                          <a:latin typeface="Stem"/>
                          <a:ea typeface="Stem"/>
                          <a:cs typeface="Stem"/>
                          <a:sym typeface="Stem"/>
                        </a:rPr>
                        <a:t>млрд руб.</a:t>
                      </a:r>
                      <a:r>
                        <a:rPr lang="ru-RU" sz="1200" i="1" dirty="0" smtClean="0">
                          <a:latin typeface="Stem"/>
                          <a:ea typeface="Stem"/>
                          <a:cs typeface="Stem"/>
                          <a:sym typeface="Stem"/>
                        </a:rPr>
                        <a:t> </a:t>
                      </a:r>
                      <a:endParaRPr sz="1200" i="1" dirty="0">
                        <a:latin typeface="Stem"/>
                        <a:ea typeface="Stem"/>
                        <a:cs typeface="Stem"/>
                        <a:sym typeface="Stem"/>
                      </a:endParaRPr>
                    </a:p>
                  </a:txBody>
                  <a:tcPr marL="0" marR="0" marT="0" marB="0" anchor="ctr" horzOverflow="overflow">
                    <a:lnL w="0">
                      <a:noFill/>
                      <a:miter lim="400000"/>
                    </a:lnL>
                    <a:lnR w="0">
                      <a:miter lim="400000"/>
                    </a:lnR>
                    <a:lnT w="12700" cap="flat" cmpd="sng" algn="ctr">
                      <a:solidFill>
                        <a:srgbClr val="0077C8"/>
                      </a:solidFill>
                      <a:prstDash val="solid"/>
                      <a:miter lim="400000"/>
                      <a:headEnd type="none" w="med" len="med"/>
                      <a:tailEnd type="none" w="med" len="med"/>
                    </a:lnT>
                    <a:lnB w="12700">
                      <a:solidFill>
                        <a:srgbClr val="AFAFAF"/>
                      </a:solidFill>
                      <a:custDash>
                        <a:ds d="100000" sp="200000"/>
                      </a:custDash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3201">
                <a:tc>
                  <a:txBody>
                    <a:bodyPr/>
                    <a:lstStyle/>
                    <a:p>
                      <a:pPr algn="ctr" defTabSz="1828800">
                        <a:lnSpc>
                          <a:spcPct val="107000"/>
                        </a:lnSpc>
                      </a:pPr>
                      <a:r>
                        <a:rPr lang="ru-RU" sz="1400" dirty="0">
                          <a:latin typeface="Stem"/>
                          <a:ea typeface="Stem"/>
                          <a:cs typeface="Stem"/>
                          <a:sym typeface="Stem"/>
                        </a:rPr>
                        <a:t>15 лет</a:t>
                      </a:r>
                      <a:endParaRPr sz="1400" dirty="0">
                        <a:latin typeface="Stem"/>
                        <a:ea typeface="Stem"/>
                        <a:cs typeface="Stem"/>
                        <a:sym typeface="Stem"/>
                      </a:endParaRPr>
                    </a:p>
                  </a:txBody>
                  <a:tcPr marL="0" marR="0" marT="0" marB="0" anchor="ctr" horzOverflow="overflow">
                    <a:lnL w="0">
                      <a:miter lim="400000"/>
                    </a:lnL>
                    <a:lnR w="0">
                      <a:miter lim="400000"/>
                    </a:lnR>
                    <a:lnT w="12700">
                      <a:solidFill>
                        <a:srgbClr val="AFAFAF"/>
                      </a:solidFill>
                      <a:custDash>
                        <a:ds d="100000" sp="200000"/>
                      </a:custDash>
                    </a:lnT>
                    <a:lnB w="12700">
                      <a:solidFill>
                        <a:srgbClr val="AFAFAF"/>
                      </a:solidFill>
                      <a:custDash>
                        <a:ds d="100000" sp="200000"/>
                      </a:custDash>
                    </a:lnB>
                  </a:tcPr>
                </a:tc>
                <a:tc>
                  <a:txBody>
                    <a:bodyPr/>
                    <a:lstStyle/>
                    <a:p>
                      <a:pPr algn="ctr" defTabSz="1828800">
                        <a:lnSpc>
                          <a:spcPct val="107000"/>
                        </a:lnSpc>
                      </a:pPr>
                      <a:r>
                        <a:rPr lang="ru-RU" sz="1400" dirty="0">
                          <a:latin typeface="Stem"/>
                          <a:ea typeface="Stem"/>
                          <a:cs typeface="Stem"/>
                          <a:sym typeface="Stem"/>
                        </a:rPr>
                        <a:t>от 10 до 15 </a:t>
                      </a:r>
                      <a:r>
                        <a:rPr lang="ru-RU" sz="1400" dirty="0" smtClean="0">
                          <a:latin typeface="Stem"/>
                          <a:ea typeface="Stem"/>
                          <a:cs typeface="Stem"/>
                          <a:sym typeface="Stem"/>
                        </a:rPr>
                        <a:t>млрд руб.</a:t>
                      </a:r>
                      <a:endParaRPr sz="1200" i="1" dirty="0">
                        <a:latin typeface="Stem"/>
                        <a:ea typeface="Stem"/>
                        <a:cs typeface="Stem"/>
                        <a:sym typeface="Stem"/>
                      </a:endParaRPr>
                    </a:p>
                  </a:txBody>
                  <a:tcPr marL="0" marR="0" marT="0" marB="0" anchor="ctr" horzOverflow="overflow">
                    <a:lnL w="0">
                      <a:miter lim="400000"/>
                    </a:lnL>
                    <a:lnR w="0">
                      <a:miter lim="400000"/>
                    </a:lnR>
                    <a:lnT w="12700">
                      <a:solidFill>
                        <a:srgbClr val="AFAFAF"/>
                      </a:solidFill>
                      <a:custDash>
                        <a:ds d="100000" sp="200000"/>
                      </a:custDash>
                    </a:lnT>
                    <a:lnB w="12700">
                      <a:solidFill>
                        <a:srgbClr val="AFAFAF"/>
                      </a:solidFill>
                      <a:custDash>
                        <a:ds d="100000" sp="200000"/>
                      </a:custDash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9743">
                <a:tc>
                  <a:txBody>
                    <a:bodyPr/>
                    <a:lstStyle/>
                    <a:p>
                      <a:pPr algn="ctr" defTabSz="1828800">
                        <a:lnSpc>
                          <a:spcPct val="107000"/>
                        </a:lnSpc>
                      </a:pPr>
                      <a:r>
                        <a:rPr lang="ru-RU" sz="1400" dirty="0">
                          <a:latin typeface="Stem"/>
                          <a:ea typeface="Stem"/>
                          <a:cs typeface="Stem"/>
                          <a:sym typeface="Stem"/>
                        </a:rPr>
                        <a:t>20</a:t>
                      </a:r>
                      <a:r>
                        <a:rPr lang="ru-RU" sz="1400" baseline="0" dirty="0">
                          <a:latin typeface="Stem"/>
                          <a:ea typeface="Stem"/>
                          <a:cs typeface="Stem"/>
                          <a:sym typeface="Stem"/>
                        </a:rPr>
                        <a:t> лет</a:t>
                      </a:r>
                      <a:endParaRPr sz="1400" dirty="0">
                        <a:latin typeface="Stem"/>
                        <a:ea typeface="Stem"/>
                        <a:cs typeface="Stem"/>
                        <a:sym typeface="Stem"/>
                      </a:endParaRPr>
                    </a:p>
                  </a:txBody>
                  <a:tcPr marL="0" marR="0" marT="0" marB="0" anchor="ctr" horzOverflow="overflow">
                    <a:lnL w="0">
                      <a:miter lim="400000"/>
                    </a:lnL>
                    <a:lnR w="0">
                      <a:miter lim="400000"/>
                    </a:lnR>
                    <a:lnT w="12700">
                      <a:solidFill>
                        <a:srgbClr val="AFAFAF"/>
                      </a:solidFill>
                      <a:custDash>
                        <a:ds d="100000" sp="200000"/>
                      </a:custDash>
                    </a:lnT>
                    <a:lnB w="12700">
                      <a:solidFill>
                        <a:srgbClr val="AFAFAF"/>
                      </a:solidFill>
                      <a:custDash>
                        <a:ds d="100000" sp="200000"/>
                      </a:custDash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defTabSz="1828800">
                        <a:lnSpc>
                          <a:spcPct val="107000"/>
                        </a:lnSpc>
                      </a:pPr>
                      <a:r>
                        <a:rPr lang="ru-RU" sz="1400" dirty="0">
                          <a:latin typeface="Stem"/>
                          <a:ea typeface="Stem"/>
                          <a:cs typeface="Stem"/>
                          <a:sym typeface="Stem"/>
                        </a:rPr>
                        <a:t>не менее 15 </a:t>
                      </a:r>
                      <a:r>
                        <a:rPr lang="ru-RU" sz="1400" dirty="0" smtClean="0">
                          <a:latin typeface="Stem"/>
                          <a:ea typeface="Stem"/>
                          <a:cs typeface="Stem"/>
                          <a:sym typeface="Stem"/>
                        </a:rPr>
                        <a:t>млрд руб.</a:t>
                      </a:r>
                      <a:endParaRPr sz="1200" i="1" dirty="0">
                        <a:latin typeface="Stem"/>
                        <a:ea typeface="Stem"/>
                        <a:cs typeface="Stem"/>
                        <a:sym typeface="Stem"/>
                      </a:endParaRPr>
                    </a:p>
                  </a:txBody>
                  <a:tcPr marL="0" marR="0" marT="0" marB="0" anchor="ctr" horzOverflow="overflow">
                    <a:lnL w="0">
                      <a:miter lim="400000"/>
                    </a:lnL>
                    <a:lnR w="0">
                      <a:miter lim="400000"/>
                    </a:lnR>
                    <a:lnT w="12700">
                      <a:solidFill>
                        <a:srgbClr val="AFAFAF"/>
                      </a:solidFill>
                      <a:custDash>
                        <a:ds d="100000" sp="200000"/>
                      </a:custDash>
                    </a:lnT>
                    <a:lnB w="12700">
                      <a:solidFill>
                        <a:srgbClr val="AFAFAF"/>
                      </a:solidFill>
                      <a:custDash>
                        <a:ds d="100000" sp="200000"/>
                      </a:custDash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6357125"/>
              </p:ext>
            </p:extLst>
          </p:nvPr>
        </p:nvGraphicFramePr>
        <p:xfrm>
          <a:off x="414921" y="1834054"/>
          <a:ext cx="3813536" cy="3840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1517">
                  <a:extLst>
                    <a:ext uri="{9D8B030D-6E8A-4147-A177-3AD203B41FA5}">
                      <a16:colId xmlns:a16="http://schemas.microsoft.com/office/drawing/2014/main" val="1262829846"/>
                    </a:ext>
                  </a:extLst>
                </a:gridCol>
                <a:gridCol w="301022">
                  <a:extLst>
                    <a:ext uri="{9D8B030D-6E8A-4147-A177-3AD203B41FA5}">
                      <a16:colId xmlns:a16="http://schemas.microsoft.com/office/drawing/2014/main" val="1344420767"/>
                    </a:ext>
                  </a:extLst>
                </a:gridCol>
                <a:gridCol w="3190997">
                  <a:extLst>
                    <a:ext uri="{9D8B030D-6E8A-4147-A177-3AD203B41FA5}">
                      <a16:colId xmlns:a16="http://schemas.microsoft.com/office/drawing/2014/main" val="2231578003"/>
                    </a:ext>
                  </a:extLst>
                </a:gridCol>
              </a:tblGrid>
              <a:tr h="124286">
                <a:tc rowSpan="6">
                  <a:txBody>
                    <a:bodyPr/>
                    <a:lstStyle/>
                    <a:p>
                      <a:pPr algn="l"/>
                      <a:endParaRPr lang="ru-RU" sz="1800" b="0" i="0" u="none" strike="noStrike" kern="1200" cap="none" spc="-1" baseline="0" dirty="0">
                        <a:solidFill>
                          <a:schemeClr val="bg1"/>
                        </a:solidFill>
                        <a:uFillTx/>
                        <a:latin typeface="Stem Medium" panose="020B0503020203020204"/>
                        <a:ea typeface="+mn-ea"/>
                        <a:cs typeface="+mn-cs"/>
                        <a:sym typeface="Helvetica Neue"/>
                      </a:endParaRPr>
                    </a:p>
                  </a:txBody>
                  <a:tcPr vert="vert27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BC7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defTabSz="2438338" rtl="0" eaLnBrk="1" latinLnBrk="0" hangingPunct="0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spc="-1" dirty="0">
                          <a:solidFill>
                            <a:schemeClr val="tx1"/>
                          </a:solidFill>
                          <a:latin typeface="Stem Medium" panose="020B0503020203020204"/>
                          <a:ea typeface="+mn-ea"/>
                          <a:cs typeface="+mn-cs"/>
                          <a:sym typeface="Helvetica Neue"/>
                        </a:rPr>
                        <a:t>Акты земельного законодательства; </a:t>
                      </a:r>
                      <a:endParaRPr lang="ru-RU" sz="1200" b="0" kern="1200" spc="-1" dirty="0">
                        <a:solidFill>
                          <a:schemeClr val="tx1"/>
                        </a:solidFill>
                        <a:latin typeface="Stem Medium" panose="020B0503020203020204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401166"/>
                  </a:ext>
                </a:extLst>
              </a:tr>
              <a:tr h="185246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BC7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2438338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spc="-1" dirty="0">
                          <a:solidFill>
                            <a:schemeClr val="tx1"/>
                          </a:solidFill>
                          <a:latin typeface="Stem Medium" panose="020B0503020203020204"/>
                          <a:ea typeface="+mn-ea"/>
                          <a:cs typeface="+mn-cs"/>
                          <a:sym typeface="Helvetica Neue"/>
                        </a:rPr>
                        <a:t>Акты градостроительного законодательства; </a:t>
                      </a:r>
                      <a:endParaRPr lang="ru-RU" sz="1200" kern="1200" spc="-1" dirty="0">
                        <a:solidFill>
                          <a:schemeClr val="tx1"/>
                        </a:solidFill>
                        <a:latin typeface="Stem Medium" panose="020B0503020203020204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9047489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BC7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2438338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spc="-1" dirty="0">
                          <a:solidFill>
                            <a:schemeClr val="tx1"/>
                          </a:solidFill>
                          <a:latin typeface="Stem Medium" panose="020B0503020203020204"/>
                          <a:ea typeface="+mn-ea"/>
                          <a:cs typeface="+mn-cs"/>
                          <a:sym typeface="Helvetica Neue"/>
                        </a:rPr>
                        <a:t>Акты в области эксплуатации объектов недвижимого имущества;</a:t>
                      </a:r>
                      <a:endParaRPr lang="ru-RU" sz="1200" kern="1200" spc="-1" dirty="0">
                        <a:solidFill>
                          <a:schemeClr val="tx1"/>
                        </a:solidFill>
                        <a:latin typeface="Stem Medium" panose="020B0503020203020204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2176647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BC7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/>
                      <a:endParaRPr lang="ru-RU" sz="6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DB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2438338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spc="-1" dirty="0">
                          <a:solidFill>
                            <a:schemeClr val="tx1"/>
                          </a:solidFill>
                          <a:latin typeface="Stem Medium" panose="020B0503020203020204"/>
                          <a:ea typeface="+mn-ea"/>
                          <a:cs typeface="+mn-cs"/>
                          <a:sym typeface="Helvetica Neue"/>
                        </a:rPr>
                        <a:t>Акты, регулирующие ставки вывозных таможенных пошлин (предусматривающие их увеличение относительно действовавших на 1 января 2022 г.) (на срок действия СЗПК);</a:t>
                      </a:r>
                      <a:endParaRPr lang="ru-RU" sz="1200" kern="1200" spc="-1" dirty="0">
                        <a:solidFill>
                          <a:schemeClr val="tx1"/>
                        </a:solidFill>
                        <a:latin typeface="Stem Medium" panose="020B0503020203020204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2334898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BC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D28C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2438338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spc="-1" dirty="0">
                          <a:solidFill>
                            <a:schemeClr val="tx1"/>
                          </a:solidFill>
                          <a:latin typeface="Stem Medium" panose="020B0503020203020204"/>
                          <a:ea typeface="+mn-ea"/>
                          <a:cs typeface="+mn-cs"/>
                          <a:sym typeface="Helvetica Neue"/>
                        </a:rPr>
                        <a:t>Акты, регулирующие размер платы за негативное воздействие на окружающую среду, пользование водными объектами, экологического сбора;</a:t>
                      </a:r>
                      <a:endParaRPr lang="ru-RU" sz="1200" kern="1200" spc="-1" dirty="0">
                        <a:solidFill>
                          <a:schemeClr val="tx1"/>
                        </a:solidFill>
                        <a:latin typeface="Stem Medium" panose="020B0503020203020204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9548421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BC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D28C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2438338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spc="-1" dirty="0">
                          <a:solidFill>
                            <a:schemeClr val="tx1"/>
                          </a:solidFill>
                          <a:latin typeface="Stem Medium" panose="020B0503020203020204"/>
                          <a:ea typeface="+mn-ea"/>
                          <a:cs typeface="+mn-cs"/>
                          <a:sym typeface="Helvetica Neue"/>
                        </a:rPr>
                        <a:t>Акты, регулирующие размер платы за изъятие лесных ресурсов, арендной платы за пользование лесными участками с изъятием ресурсов  </a:t>
                      </a:r>
                      <a:endParaRPr lang="ru-RU" sz="1200" kern="1200" spc="-1" dirty="0">
                        <a:solidFill>
                          <a:schemeClr val="tx1"/>
                        </a:solidFill>
                        <a:latin typeface="Stem Medium" panose="020B0503020203020204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2563859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 rot="16200000">
            <a:off x="177009" y="3405986"/>
            <a:ext cx="769057" cy="41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3 года</a:t>
            </a:r>
          </a:p>
        </p:txBody>
      </p:sp>
      <p:sp>
        <p:nvSpPr>
          <p:cNvPr id="23" name="TextBox 22"/>
          <p:cNvSpPr txBox="1"/>
          <p:nvPr/>
        </p:nvSpPr>
        <p:spPr>
          <a:xfrm rot="16200000">
            <a:off x="254838" y="4224270"/>
            <a:ext cx="1221488" cy="2641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05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Более</a:t>
            </a:r>
            <a:r>
              <a:rPr kumimoji="0" lang="ru-RU" sz="1050" b="0" i="0" u="none" strike="noStrike" cap="none" spc="0" normalizeH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 15 млрд </a:t>
            </a:r>
            <a:r>
              <a:rPr kumimoji="0" lang="ru-RU" sz="1050" b="0" i="0" u="none" strike="noStrike" cap="none" spc="0" normalizeH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Helvetica Neue"/>
              </a:rPr>
              <a:t>руб.</a:t>
            </a:r>
            <a:endParaRPr kumimoji="0" lang="ru-RU" sz="1050" b="0" i="1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Helvetica Neue"/>
            </a:endParaRPr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 flipV="1">
            <a:off x="502967" y="5673390"/>
            <a:ext cx="3437378" cy="1"/>
          </a:xfrm>
          <a:prstGeom prst="line">
            <a:avLst/>
          </a:prstGeom>
          <a:ln>
            <a:solidFill>
              <a:srgbClr val="007BC7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11798778" y="6381998"/>
            <a:ext cx="5635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7</a:t>
            </a:r>
            <a:endParaRPr lang="ru-RU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040935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8" name="TextShape 1"/>
          <p:cNvSpPr txBox="1"/>
          <p:nvPr/>
        </p:nvSpPr>
        <p:spPr>
          <a:xfrm>
            <a:off x="359999" y="187404"/>
            <a:ext cx="10497297" cy="390242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noAutofit/>
          </a:bodyPr>
          <a:lstStyle>
            <a:defPPr>
              <a:defRPr lang="ru-RU"/>
            </a:defPPr>
            <a:lvl1pPr marL="6350" marR="0" indent="0" defTabSz="914377">
              <a:lnSpc>
                <a:spcPct val="80000"/>
              </a:lnSpc>
              <a:spcBef>
                <a:spcPts val="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 u="none" strike="noStrike" cap="none" spc="-10" baseline="0">
                <a:solidFill>
                  <a:schemeClr val="bg2">
                    <a:lumMod val="10000"/>
                  </a:schemeClr>
                </a:solidFill>
                <a:uFillTx/>
                <a:latin typeface="Stem Medium" panose="020B0503020203020204"/>
                <a:ea typeface="+mj-ea"/>
                <a:cs typeface="Verdana"/>
              </a:defRPr>
            </a:lvl1pPr>
            <a:lvl2pPr marL="0" marR="0" indent="3429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2pPr>
            <a:lvl3pPr marL="0" marR="0" indent="6858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3pPr>
            <a:lvl4pPr marL="0" marR="0" indent="10287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4pPr>
            <a:lvl5pPr marL="0" marR="0" indent="13716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5pPr>
            <a:lvl6pPr marL="0" marR="0" indent="17145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6pPr>
            <a:lvl7pPr marL="0" marR="0" indent="20574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7pPr>
            <a:lvl8pPr marL="0" marR="0" indent="24003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8pPr>
            <a:lvl9pPr marL="0" marR="0" indent="2743200" defTabSz="1828754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375" b="1" i="0" u="none" strike="noStrike" cap="none" spc="-127" baseline="0">
                <a:solidFill>
                  <a:srgbClr val="000000"/>
                </a:solidFill>
                <a:uFillTx/>
              </a:defRPr>
            </a:lvl9pPr>
          </a:lstStyle>
          <a:p>
            <a:r>
              <a:rPr lang="ru-RU" dirty="0"/>
              <a:t>Обеспечивающая и сопутствующая </a:t>
            </a:r>
            <a:r>
              <a:rPr lang="ru-RU" dirty="0" smtClean="0"/>
              <a:t>инфраструктура</a:t>
            </a:r>
            <a:endParaRPr lang="ru-RU" dirty="0"/>
          </a:p>
        </p:txBody>
      </p:sp>
      <p:pic>
        <p:nvPicPr>
          <p:cNvPr id="21" name="object 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60000" y="680400"/>
            <a:ext cx="1384857" cy="51528"/>
          </a:xfrm>
          <a:prstGeom prst="rect">
            <a:avLst/>
          </a:prstGeom>
        </p:spPr>
      </p:pic>
      <p:pic>
        <p:nvPicPr>
          <p:cNvPr id="30" name="object 4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1227996" y="191108"/>
            <a:ext cx="800906" cy="834507"/>
          </a:xfrm>
          <a:prstGeom prst="rect">
            <a:avLst/>
          </a:prstGeom>
        </p:spPr>
      </p:pic>
      <p:sp>
        <p:nvSpPr>
          <p:cNvPr id="44" name="CustomShape 6"/>
          <p:cNvSpPr/>
          <p:nvPr/>
        </p:nvSpPr>
        <p:spPr>
          <a:xfrm>
            <a:off x="4853685" y="3195688"/>
            <a:ext cx="2691666" cy="320135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miter lim="400000"/>
          </a:ln>
        </p:spPr>
      </p:sp>
      <p:sp>
        <p:nvSpPr>
          <p:cNvPr id="6" name="TextBox 5"/>
          <p:cNvSpPr txBox="1"/>
          <p:nvPr/>
        </p:nvSpPr>
        <p:spPr>
          <a:xfrm>
            <a:off x="4255918" y="3181350"/>
            <a:ext cx="3887201" cy="34881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600" dirty="0" smtClean="0">
                <a:solidFill>
                  <a:schemeClr val="bg1"/>
                </a:solidFill>
                <a:sym typeface="Helvetica Neue"/>
              </a:rPr>
              <a:t>Объекты инфраструктуры:</a:t>
            </a:r>
            <a:endParaRPr kumimoji="0" lang="ru-RU" sz="16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sym typeface="Helvetica Neue"/>
            </a:endParaRPr>
          </a:p>
        </p:txBody>
      </p:sp>
      <p:sp>
        <p:nvSpPr>
          <p:cNvPr id="54" name="Скругленный прямоугольник 53"/>
          <p:cNvSpPr/>
          <p:nvPr/>
        </p:nvSpPr>
        <p:spPr>
          <a:xfrm>
            <a:off x="390001" y="4773223"/>
            <a:ext cx="5739049" cy="1123712"/>
          </a:xfrm>
          <a:prstGeom prst="roundRect">
            <a:avLst/>
          </a:prstGeom>
          <a:ln w="3175">
            <a:solidFill>
              <a:schemeClr val="accent1"/>
            </a:solidFill>
            <a:prstDash val="dashDot"/>
          </a:ln>
        </p:spPr>
        <p:txBody>
          <a:bodyPr wrap="square">
            <a:spAutoFit/>
          </a:bodyPr>
          <a:lstStyle/>
          <a:p>
            <a:pPr algn="just" defTabSz="1219169" hangingPunct="0"/>
            <a:r>
              <a:rPr lang="ru-RU" sz="1000" spc="-1" dirty="0">
                <a:solidFill>
                  <a:prstClr val="black"/>
                </a:solidFill>
                <a:latin typeface="Stem Medium" panose="020B0503020203020204"/>
                <a:sym typeface="Helvetica Neue Medium"/>
              </a:rPr>
              <a:t>объекты соответствуют одному из следующих требований:</a:t>
            </a:r>
          </a:p>
          <a:p>
            <a:pPr algn="just" defTabSz="1219169" hangingPunct="0"/>
            <a:r>
              <a:rPr lang="ru-RU" sz="1000" spc="-1" dirty="0">
                <a:solidFill>
                  <a:prstClr val="black"/>
                </a:solidFill>
                <a:latin typeface="Stem Medium" panose="020B0503020203020204"/>
                <a:sym typeface="Helvetica Neue Medium"/>
              </a:rPr>
              <a:t>а) находятся в государственной (муниципальной) собственности или подлежат передаче ОРП в государственную (муниципальную) собственность;</a:t>
            </a:r>
          </a:p>
          <a:p>
            <a:pPr algn="just" defTabSz="1219169" hangingPunct="0"/>
            <a:r>
              <a:rPr lang="ru-RU" sz="1000" spc="-1" dirty="0">
                <a:solidFill>
                  <a:prstClr val="black"/>
                </a:solidFill>
                <a:latin typeface="Stem Medium" panose="020B0503020203020204"/>
                <a:sym typeface="Helvetica Neue Medium"/>
              </a:rPr>
              <a:t>б) находятся в собственности регулируемой организации и (или) по договору, заключенному с регулируемой организацией, в том числе договору технологического присоединения, поступают в собственность этой организации.</a:t>
            </a:r>
          </a:p>
        </p:txBody>
      </p:sp>
      <p:sp>
        <p:nvSpPr>
          <p:cNvPr id="56" name="CustomShape 6"/>
          <p:cNvSpPr/>
          <p:nvPr/>
        </p:nvSpPr>
        <p:spPr>
          <a:xfrm>
            <a:off x="1271016" y="4308459"/>
            <a:ext cx="4055483" cy="364750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miter lim="400000"/>
          </a:ln>
        </p:spPr>
      </p:sp>
      <p:sp>
        <p:nvSpPr>
          <p:cNvPr id="59" name="TextBox 58"/>
          <p:cNvSpPr txBox="1"/>
          <p:nvPr/>
        </p:nvSpPr>
        <p:spPr>
          <a:xfrm>
            <a:off x="429232" y="4293657"/>
            <a:ext cx="5739048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400" b="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Helvetica Neue"/>
              </a:rPr>
              <a:t>Сопутствующая возмещается</a:t>
            </a:r>
            <a:r>
              <a:rPr kumimoji="0" lang="ru-RU" sz="1400" b="0" i="0" u="none" strike="noStrike" cap="none" spc="0" normalizeH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Helvetica Neue"/>
              </a:rPr>
              <a:t> в течение </a:t>
            </a:r>
            <a:r>
              <a:rPr kumimoji="0" lang="ru-RU" sz="1400" b="1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Helvetica Neue"/>
              </a:rPr>
              <a:t>10</a:t>
            </a:r>
            <a:r>
              <a:rPr kumimoji="0" lang="ru-RU" sz="1400" b="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Helvetica Neue"/>
              </a:rPr>
              <a:t> лет</a:t>
            </a:r>
            <a:endParaRPr kumimoji="0" lang="ru-RU" sz="14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sym typeface="Helvetica Neue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351876" y="3601805"/>
            <a:ext cx="11638901" cy="510778"/>
          </a:xfrm>
          <a:prstGeom prst="roundRect">
            <a:avLst/>
          </a:prstGeom>
          <a:ln w="3175">
            <a:solidFill>
              <a:schemeClr val="accent1"/>
            </a:solidFill>
            <a:prstDash val="dashDot"/>
          </a:ln>
        </p:spPr>
        <p:txBody>
          <a:bodyPr wrap="square">
            <a:spAutoFit/>
          </a:bodyPr>
          <a:lstStyle/>
          <a:p>
            <a:pPr algn="ctr" defTabSz="1219169" hangingPunct="0"/>
            <a:r>
              <a:rPr lang="ru-RU" sz="1200" spc="-1" dirty="0">
                <a:solidFill>
                  <a:prstClr val="black"/>
                </a:solidFill>
                <a:latin typeface="Stem Medium" panose="020B0503020203020204"/>
                <a:sym typeface="Helvetica Neue Medium"/>
              </a:rPr>
              <a:t>объекты транспортной, энергетической, коммунальной, социальной, цифровой инфраструктур, используемые как в целях реализации инвестиционного проекта, так и в иных целях, в отношении которых ОРП понесла затраты, связанные с их созданием (строительством) либо реконструкцией и (или) модернизацией</a:t>
            </a:r>
          </a:p>
        </p:txBody>
      </p:sp>
      <p:sp>
        <p:nvSpPr>
          <p:cNvPr id="12" name="CustomShape 6"/>
          <p:cNvSpPr/>
          <p:nvPr/>
        </p:nvSpPr>
        <p:spPr>
          <a:xfrm>
            <a:off x="7114032" y="4315649"/>
            <a:ext cx="4113964" cy="359635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miter lim="400000"/>
          </a:ln>
        </p:spPr>
      </p:sp>
      <p:sp>
        <p:nvSpPr>
          <p:cNvPr id="13" name="TextBox 12"/>
          <p:cNvSpPr txBox="1"/>
          <p:nvPr/>
        </p:nvSpPr>
        <p:spPr>
          <a:xfrm>
            <a:off x="6332615" y="4286952"/>
            <a:ext cx="5666285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2438338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400" dirty="0" smtClean="0">
                <a:solidFill>
                  <a:schemeClr val="bg1"/>
                </a:solidFill>
                <a:sym typeface="Helvetica Neue"/>
              </a:rPr>
              <a:t>Обеспечивающая возмещается в течение </a:t>
            </a:r>
            <a:r>
              <a:rPr lang="ru-RU" sz="1400" b="1" dirty="0" smtClean="0">
                <a:solidFill>
                  <a:schemeClr val="bg1"/>
                </a:solidFill>
                <a:sym typeface="Helvetica Neue"/>
              </a:rPr>
              <a:t>5</a:t>
            </a:r>
            <a:r>
              <a:rPr lang="ru-RU" sz="1400" dirty="0" smtClean="0">
                <a:solidFill>
                  <a:schemeClr val="bg1"/>
                </a:solidFill>
                <a:sym typeface="Helvetica Neue"/>
              </a:rPr>
              <a:t> лет</a:t>
            </a:r>
            <a:endParaRPr kumimoji="0" lang="ru-RU" sz="14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sym typeface="Helvetica Neue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6362617" y="4773223"/>
            <a:ext cx="5666285" cy="1992035"/>
          </a:xfrm>
          <a:prstGeom prst="roundRect">
            <a:avLst/>
          </a:prstGeom>
          <a:ln w="3175">
            <a:solidFill>
              <a:schemeClr val="accent1"/>
            </a:solidFill>
            <a:prstDash val="dashDot"/>
          </a:ln>
        </p:spPr>
        <p:txBody>
          <a:bodyPr wrap="square">
            <a:spAutoFit/>
          </a:bodyPr>
          <a:lstStyle/>
          <a:p>
            <a:pPr algn="ctr" defTabSz="1219169" hangingPunct="0"/>
            <a:r>
              <a:rPr lang="ru-RU" sz="1000" b="1" spc="-1" dirty="0">
                <a:solidFill>
                  <a:prstClr val="black"/>
                </a:solidFill>
                <a:latin typeface="Stem Medium" panose="020B0503020203020204"/>
                <a:sym typeface="Helvetica Neue Medium"/>
              </a:rPr>
              <a:t>объекты используются исключительно в целях реализации инвестиционного </a:t>
            </a:r>
            <a:r>
              <a:rPr lang="ru-RU" sz="1000" b="1" spc="-1" dirty="0" smtClean="0">
                <a:solidFill>
                  <a:prstClr val="black"/>
                </a:solidFill>
                <a:latin typeface="Stem Medium" panose="020B0503020203020204"/>
                <a:sym typeface="Helvetica Neue Medium"/>
              </a:rPr>
              <a:t>проекта</a:t>
            </a:r>
          </a:p>
          <a:p>
            <a:pPr algn="ctr" defTabSz="1219169" hangingPunct="0"/>
            <a:r>
              <a:rPr lang="ru-RU" sz="1000" b="1" spc="-1" dirty="0" smtClean="0">
                <a:solidFill>
                  <a:prstClr val="black"/>
                </a:solidFill>
                <a:latin typeface="Stem Medium" panose="020B0503020203020204"/>
                <a:sym typeface="Helvetica Neue Medium"/>
              </a:rPr>
              <a:t>и </a:t>
            </a:r>
            <a:r>
              <a:rPr lang="ru-RU" sz="1000" b="1" u="sng" spc="-1" dirty="0">
                <a:solidFill>
                  <a:prstClr val="black"/>
                </a:solidFill>
                <a:latin typeface="Stem Medium" panose="020B0503020203020204"/>
                <a:sym typeface="Helvetica Neue Medium"/>
              </a:rPr>
              <a:t>не являются </a:t>
            </a:r>
            <a:r>
              <a:rPr lang="ru-RU" sz="1000" b="1" spc="-1" dirty="0">
                <a:solidFill>
                  <a:prstClr val="black"/>
                </a:solidFill>
                <a:latin typeface="Stem Medium" panose="020B0503020203020204"/>
                <a:sym typeface="Helvetica Neue Medium"/>
              </a:rPr>
              <a:t>объектами </a:t>
            </a:r>
            <a:r>
              <a:rPr lang="ru-RU" sz="1000" b="1" u="sng" spc="-1" dirty="0">
                <a:solidFill>
                  <a:prstClr val="black"/>
                </a:solidFill>
                <a:latin typeface="Stem Medium" panose="020B0503020203020204"/>
                <a:sym typeface="Helvetica Neue Medium"/>
              </a:rPr>
              <a:t>сопутствующей инфраструктуры</a:t>
            </a:r>
            <a:endParaRPr lang="en-US" sz="1000" b="1" u="sng" spc="-1" dirty="0">
              <a:solidFill>
                <a:prstClr val="black"/>
              </a:solidFill>
              <a:latin typeface="Stem Medium" panose="020B0503020203020204"/>
              <a:sym typeface="Helvetica Neue Medium"/>
            </a:endParaRPr>
          </a:p>
          <a:p>
            <a:pPr algn="ctr" defTabSz="1219169" hangingPunct="0"/>
            <a:r>
              <a:rPr lang="ru-RU" sz="1000" b="1" spc="-1" dirty="0">
                <a:solidFill>
                  <a:prstClr val="black"/>
                </a:solidFill>
                <a:latin typeface="Stem Medium" panose="020B0503020203020204"/>
                <a:sym typeface="Helvetica Neue Medium"/>
              </a:rPr>
              <a:t>Критерии:</a:t>
            </a:r>
          </a:p>
          <a:p>
            <a:pPr marL="171450" indent="-171450" defTabSz="1219169" hangingPunct="0">
              <a:buFont typeface="Arial" panose="020B0604020202020204" pitchFamily="34" charset="0"/>
              <a:buChar char="•"/>
            </a:pPr>
            <a:r>
              <a:rPr lang="ru-RU" sz="900" spc="-1" dirty="0">
                <a:solidFill>
                  <a:prstClr val="black"/>
                </a:solidFill>
                <a:latin typeface="Stem Medium" panose="020B0503020203020204"/>
                <a:sym typeface="Helvetica Neue Medium"/>
              </a:rPr>
              <a:t>объект инфраструктуры создается полностью или частично для эксплуатации (использования) объекта проекта и (или) обеспечения нового производства товаров (работ, услуг), и (или) увеличения объемов существующего производства товаров (работ, услуг), и (или) предотвращения (минимизации) негативного влияния на окружающую среду (в зависимости от цели проекта);</a:t>
            </a:r>
          </a:p>
          <a:p>
            <a:pPr marL="171450" indent="-171450" defTabSz="1219169" hangingPunct="0">
              <a:buFont typeface="Arial" panose="020B0604020202020204" pitchFamily="34" charset="0"/>
              <a:buChar char="•"/>
            </a:pPr>
            <a:r>
              <a:rPr lang="ru-RU" sz="900" spc="-1" dirty="0">
                <a:solidFill>
                  <a:prstClr val="black"/>
                </a:solidFill>
                <a:latin typeface="Stem Medium" panose="020B0503020203020204"/>
                <a:sym typeface="Helvetica Neue Medium"/>
              </a:rPr>
              <a:t>достижение заявленных показателей проекта невозможно без использования объекта инфраструктуры;</a:t>
            </a:r>
          </a:p>
          <a:p>
            <a:pPr marL="171450" indent="-171450" defTabSz="1219169" hangingPunct="0">
              <a:buFont typeface="Arial" panose="020B0604020202020204" pitchFamily="34" charset="0"/>
              <a:buChar char="•"/>
            </a:pPr>
            <a:r>
              <a:rPr lang="ru-RU" sz="900" spc="-1" dirty="0">
                <a:solidFill>
                  <a:prstClr val="black"/>
                </a:solidFill>
                <a:latin typeface="Stem Medium" panose="020B0503020203020204"/>
                <a:sym typeface="Helvetica Neue Medium"/>
              </a:rPr>
              <a:t>объект инфраструктуры используется работниками ОРП, работниками органа (организации), эксплуатирующей (использующей) объект проекта, и (или) членами их семей (в отношении социальной инфраструктуры)</a:t>
            </a:r>
          </a:p>
        </p:txBody>
      </p:sp>
      <p:sp>
        <p:nvSpPr>
          <p:cNvPr id="18" name="CustomShape 6"/>
          <p:cNvSpPr/>
          <p:nvPr/>
        </p:nvSpPr>
        <p:spPr>
          <a:xfrm>
            <a:off x="360000" y="903929"/>
            <a:ext cx="4295358" cy="393591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miter lim="400000"/>
          </a:ln>
        </p:spPr>
      </p:sp>
      <p:sp>
        <p:nvSpPr>
          <p:cNvPr id="19" name="TextBox 18"/>
          <p:cNvSpPr txBox="1"/>
          <p:nvPr/>
        </p:nvSpPr>
        <p:spPr>
          <a:xfrm>
            <a:off x="360000" y="1711820"/>
            <a:ext cx="4966499" cy="1438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i="0" u="none" strike="noStrike" kern="1200" cap="none" spc="-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tem Medium" panose="020B0503020203020204"/>
              </a:rPr>
              <a:t>создание инфраструктуры; </a:t>
            </a:r>
          </a:p>
          <a:p>
            <a:pPr marL="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i="0" u="none" strike="noStrike" kern="1200" cap="none" spc="-1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tem Medium" panose="020B0503020203020204"/>
              </a:rPr>
              <a:t>уплату </a:t>
            </a:r>
            <a:r>
              <a:rPr kumimoji="0" lang="ru-RU" sz="1600" i="0" u="none" strike="noStrike" kern="1200" cap="none" spc="-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tem Medium" panose="020B0503020203020204"/>
              </a:rPr>
              <a:t>процентов по </a:t>
            </a:r>
            <a:r>
              <a:rPr kumimoji="0" lang="ru-RU" sz="1600" i="0" u="none" strike="noStrike" kern="1200" cap="none" spc="-1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tem Medium" panose="020B0503020203020204"/>
              </a:rPr>
              <a:t>кредитам; </a:t>
            </a:r>
            <a:endParaRPr kumimoji="0" lang="ru-RU" sz="160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tem Medium" panose="020B0503020203020204"/>
            </a:endParaRPr>
          </a:p>
          <a:p>
            <a:pPr marL="182563" marR="0" lvl="0" indent="-182563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i="0" u="none" strike="noStrike" kern="1200" cap="none" spc="-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tem Medium" panose="020B0503020203020204"/>
              </a:rPr>
              <a:t>уплату </a:t>
            </a:r>
            <a:r>
              <a:rPr kumimoji="0" lang="ru-RU" sz="1600" i="0" u="none" strike="noStrike" kern="1200" cap="none" spc="-1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tem Medium" panose="020B0503020203020204"/>
              </a:rPr>
              <a:t>купонного дохода </a:t>
            </a:r>
            <a:r>
              <a:rPr kumimoji="0" lang="ru-RU" sz="1600" i="0" u="none" strike="noStrike" kern="1200" cap="none" spc="-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tem Medium" panose="020B0503020203020204"/>
              </a:rPr>
              <a:t>по облигационным займам;</a:t>
            </a:r>
          </a:p>
          <a:p>
            <a:pPr marL="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i="0" u="none" strike="noStrike" kern="1200" cap="none" spc="-1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tem Medium" panose="020B0503020203020204"/>
              </a:rPr>
              <a:t>демонтаж </a:t>
            </a:r>
            <a:r>
              <a:rPr kumimoji="0" lang="ru-RU" sz="1600" i="0" u="none" strike="noStrike" kern="1200" cap="none" spc="-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tem Medium" panose="020B0503020203020204"/>
              </a:rPr>
              <a:t>жилых объектов военных </a:t>
            </a:r>
            <a:r>
              <a:rPr kumimoji="0" lang="ru-RU" sz="1600" i="0" u="none" strike="noStrike" kern="1200" cap="none" spc="-1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tem Medium" panose="020B0503020203020204"/>
              </a:rPr>
              <a:t>городков</a:t>
            </a:r>
            <a:endParaRPr kumimoji="0" lang="ru-RU" sz="1600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tem Medium" panose="020B0503020203020204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63920" y="916058"/>
            <a:ext cx="42914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spc="-1" dirty="0">
                <a:solidFill>
                  <a:schemeClr val="bg1"/>
                </a:solidFill>
                <a:latin typeface="Stem Medium" panose="020B0503020203020204"/>
              </a:rPr>
              <a:t>Возможно возмещение затрат на: </a:t>
            </a:r>
          </a:p>
        </p:txBody>
      </p:sp>
      <p:sp>
        <p:nvSpPr>
          <p:cNvPr id="24" name="CustomShape 6"/>
          <p:cNvSpPr/>
          <p:nvPr/>
        </p:nvSpPr>
        <p:spPr>
          <a:xfrm>
            <a:off x="5829571" y="906384"/>
            <a:ext cx="2642613" cy="391136"/>
          </a:xfrm>
          <a:prstGeom prst="roundRect">
            <a:avLst>
              <a:gd name="adj" fmla="val 44394"/>
            </a:avLst>
          </a:prstGeom>
          <a:gradFill flip="none" rotWithShape="1">
            <a:gsLst>
              <a:gs pos="0">
                <a:srgbClr val="0077C8"/>
              </a:gs>
              <a:gs pos="47598">
                <a:srgbClr val="00A0C3"/>
              </a:gs>
              <a:gs pos="100000">
                <a:srgbClr val="00B3A9"/>
              </a:gs>
            </a:gsLst>
            <a:lin ang="21594000" scaled="0"/>
            <a:tileRect/>
          </a:gradFill>
          <a:ln w="12700">
            <a:miter lim="400000"/>
          </a:ln>
        </p:spPr>
      </p:sp>
      <p:sp>
        <p:nvSpPr>
          <p:cNvPr id="25" name="TextBox 24"/>
          <p:cNvSpPr txBox="1"/>
          <p:nvPr/>
        </p:nvSpPr>
        <p:spPr>
          <a:xfrm>
            <a:off x="5829570" y="901698"/>
            <a:ext cx="26426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b="1" spc="-1" dirty="0">
                <a:solidFill>
                  <a:schemeClr val="bg1"/>
                </a:solidFill>
                <a:latin typeface="Stem Medium" panose="020B0503020203020204"/>
              </a:rPr>
              <a:t>Предельный объем </a:t>
            </a:r>
          </a:p>
        </p:txBody>
      </p:sp>
      <p:sp>
        <p:nvSpPr>
          <p:cNvPr id="26" name="CustomShape 6"/>
          <p:cNvSpPr/>
          <p:nvPr/>
        </p:nvSpPr>
        <p:spPr>
          <a:xfrm>
            <a:off x="5826862" y="1627858"/>
            <a:ext cx="820128" cy="315979"/>
          </a:xfrm>
          <a:prstGeom prst="roundRect">
            <a:avLst>
              <a:gd name="adj" fmla="val 44394"/>
            </a:avLst>
          </a:prstGeom>
          <a:solidFill>
            <a:srgbClr val="00B3A9"/>
          </a:solidFill>
          <a:ln w="126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9" name="CustomShape 6"/>
          <p:cNvSpPr/>
          <p:nvPr/>
        </p:nvSpPr>
        <p:spPr>
          <a:xfrm>
            <a:off x="5826862" y="2340052"/>
            <a:ext cx="819313" cy="315979"/>
          </a:xfrm>
          <a:prstGeom prst="roundRect">
            <a:avLst>
              <a:gd name="adj" fmla="val 44394"/>
            </a:avLst>
          </a:prstGeom>
          <a:solidFill>
            <a:srgbClr val="00B3A9"/>
          </a:solidFill>
          <a:ln w="126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1" name="CustomShape 21"/>
          <p:cNvSpPr/>
          <p:nvPr/>
        </p:nvSpPr>
        <p:spPr>
          <a:xfrm>
            <a:off x="7321528" y="1548399"/>
            <a:ext cx="4677374" cy="476309"/>
          </a:xfrm>
          <a:prstGeom prst="roundRect">
            <a:avLst>
              <a:gd name="adj" fmla="val 45380"/>
            </a:avLst>
          </a:prstGeom>
          <a:solidFill>
            <a:srgbClr val="FFFFFF"/>
          </a:solidFill>
          <a:ln w="25560">
            <a:solidFill>
              <a:srgbClr val="0071C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2" name="TextBox 31"/>
          <p:cNvSpPr txBox="1"/>
          <p:nvPr/>
        </p:nvSpPr>
        <p:spPr>
          <a:xfrm>
            <a:off x="7333581" y="1548400"/>
            <a:ext cx="46653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spc="-1" dirty="0">
                <a:solidFill>
                  <a:prstClr val="black"/>
                </a:solidFill>
                <a:latin typeface="Stem Medium" panose="020B0503020203020204"/>
              </a:rPr>
              <a:t>С</a:t>
            </a:r>
            <a:r>
              <a:rPr lang="ru-RU" sz="1200" b="1" spc="-1" dirty="0" smtClean="0">
                <a:solidFill>
                  <a:prstClr val="black"/>
                </a:solidFill>
                <a:latin typeface="Stem Medium" panose="020B0503020203020204"/>
              </a:rPr>
              <a:t>опутствующая </a:t>
            </a:r>
            <a:r>
              <a:rPr lang="ru-RU" sz="1200" b="1" spc="-1" dirty="0">
                <a:solidFill>
                  <a:prstClr val="black"/>
                </a:solidFill>
                <a:latin typeface="Stem Medium" panose="020B0503020203020204"/>
              </a:rPr>
              <a:t>инфраструктура, </a:t>
            </a:r>
            <a:r>
              <a:rPr lang="ru-RU" sz="1200" b="1" spc="-1" dirty="0" smtClean="0">
                <a:solidFill>
                  <a:prstClr val="black"/>
                </a:solidFill>
                <a:latin typeface="Stem Medium" panose="020B0503020203020204"/>
              </a:rPr>
              <a:t/>
            </a:r>
            <a:br>
              <a:rPr lang="ru-RU" sz="1200" b="1" spc="-1" dirty="0" smtClean="0">
                <a:solidFill>
                  <a:prstClr val="black"/>
                </a:solidFill>
                <a:latin typeface="Stem Medium" panose="020B0503020203020204"/>
              </a:rPr>
            </a:br>
            <a:r>
              <a:rPr lang="ru-RU" sz="1200" b="1" spc="-1" dirty="0" smtClean="0">
                <a:solidFill>
                  <a:prstClr val="black"/>
                </a:solidFill>
                <a:latin typeface="Stem Medium" panose="020B0503020203020204"/>
              </a:rPr>
              <a:t>демонтаж </a:t>
            </a:r>
            <a:r>
              <a:rPr lang="ru-RU" sz="1200" b="1" spc="-1" dirty="0">
                <a:solidFill>
                  <a:prstClr val="black"/>
                </a:solidFill>
                <a:latin typeface="Stem Medium" panose="020B0503020203020204"/>
              </a:rPr>
              <a:t>жилых объектов военных городков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826862" y="1602298"/>
            <a:ext cx="8193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tem Medium" panose="020B0503020203020204"/>
              </a:rPr>
              <a:t>100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 </a:t>
            </a: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tem Medium" panose="020B0503020203020204"/>
              </a:rPr>
              <a:t>%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35" name="CustomShape 5"/>
          <p:cNvSpPr/>
          <p:nvPr/>
        </p:nvSpPr>
        <p:spPr>
          <a:xfrm>
            <a:off x="7321528" y="2347812"/>
            <a:ext cx="4677372" cy="292888"/>
          </a:xfrm>
          <a:prstGeom prst="roundRect">
            <a:avLst>
              <a:gd name="adj" fmla="val 45916"/>
            </a:avLst>
          </a:prstGeom>
          <a:solidFill>
            <a:srgbClr val="FFFFFF"/>
          </a:solidFill>
          <a:ln w="25560">
            <a:solidFill>
              <a:srgbClr val="0071C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8" name="Line 26"/>
          <p:cNvSpPr/>
          <p:nvPr/>
        </p:nvSpPr>
        <p:spPr>
          <a:xfrm>
            <a:off x="6674534" y="1784172"/>
            <a:ext cx="624895" cy="4762"/>
          </a:xfrm>
          <a:prstGeom prst="line">
            <a:avLst/>
          </a:prstGeom>
          <a:ln w="38160">
            <a:solidFill>
              <a:srgbClr val="0077C8"/>
            </a:solidFill>
            <a:miter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9" name="TextBox 38"/>
          <p:cNvSpPr txBox="1"/>
          <p:nvPr/>
        </p:nvSpPr>
        <p:spPr>
          <a:xfrm>
            <a:off x="7277056" y="2334895"/>
            <a:ext cx="46653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200" b="1" spc="-1" dirty="0">
                <a:solidFill>
                  <a:prstClr val="black"/>
                </a:solidFill>
                <a:latin typeface="Stem Medium" panose="020B0503020203020204"/>
              </a:rPr>
              <a:t>Обеспечивающая инфраструктура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804626" y="2309377"/>
            <a:ext cx="8193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50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%</a:t>
            </a:r>
          </a:p>
        </p:txBody>
      </p:sp>
      <p:sp>
        <p:nvSpPr>
          <p:cNvPr id="45" name="Line 26"/>
          <p:cNvSpPr/>
          <p:nvPr/>
        </p:nvSpPr>
        <p:spPr>
          <a:xfrm>
            <a:off x="6668411" y="2492821"/>
            <a:ext cx="653117" cy="0"/>
          </a:xfrm>
          <a:prstGeom prst="line">
            <a:avLst/>
          </a:prstGeom>
          <a:ln w="38160">
            <a:solidFill>
              <a:srgbClr val="0077C8"/>
            </a:solidFill>
            <a:miter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9" name="CustomShape 21"/>
          <p:cNvSpPr/>
          <p:nvPr/>
        </p:nvSpPr>
        <p:spPr>
          <a:xfrm>
            <a:off x="390001" y="6235720"/>
            <a:ext cx="5809518" cy="506292"/>
          </a:xfrm>
          <a:prstGeom prst="roundRect">
            <a:avLst>
              <a:gd name="adj" fmla="val 45380"/>
            </a:avLst>
          </a:prstGeom>
          <a:solidFill>
            <a:srgbClr val="FFFFFF"/>
          </a:solidFill>
          <a:ln w="25560">
            <a:solidFill>
              <a:srgbClr val="0071C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" name="TextBox 4"/>
          <p:cNvSpPr txBox="1"/>
          <p:nvPr/>
        </p:nvSpPr>
        <p:spPr>
          <a:xfrm>
            <a:off x="494733" y="6252904"/>
            <a:ext cx="5529584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2438338" hangingPunct="0"/>
            <a:r>
              <a:rPr lang="ru-RU" sz="1200" spc="-1" dirty="0">
                <a:solidFill>
                  <a:prstClr val="black"/>
                </a:solidFill>
                <a:latin typeface="Stem Medium" panose="020B0503020203020204"/>
                <a:sym typeface="Helvetica Neue"/>
              </a:rPr>
              <a:t>Примечание: возмещение затрат производится в форме налогового </a:t>
            </a:r>
            <a:r>
              <a:rPr lang="ru-RU" sz="1200" spc="-1" dirty="0" smtClean="0">
                <a:solidFill>
                  <a:prstClr val="black"/>
                </a:solidFill>
                <a:latin typeface="Stem Medium" panose="020B0503020203020204"/>
                <a:sym typeface="Helvetica Neue"/>
              </a:rPr>
              <a:t>вычета</a:t>
            </a:r>
            <a:br>
              <a:rPr lang="ru-RU" sz="1200" spc="-1" dirty="0" smtClean="0">
                <a:solidFill>
                  <a:prstClr val="black"/>
                </a:solidFill>
                <a:latin typeface="Stem Medium" panose="020B0503020203020204"/>
                <a:sym typeface="Helvetica Neue"/>
              </a:rPr>
            </a:br>
            <a:r>
              <a:rPr lang="ru-RU" sz="1200" spc="-1" dirty="0" smtClean="0">
                <a:solidFill>
                  <a:prstClr val="black"/>
                </a:solidFill>
                <a:latin typeface="Stem Medium" panose="020B0503020203020204"/>
                <a:sym typeface="Helvetica Neue"/>
              </a:rPr>
              <a:t>или </a:t>
            </a:r>
            <a:r>
              <a:rPr lang="ru-RU" sz="1200" spc="-1" dirty="0">
                <a:solidFill>
                  <a:prstClr val="black"/>
                </a:solidFill>
                <a:latin typeface="Stem Medium" panose="020B0503020203020204"/>
                <a:sym typeface="Helvetica Neue"/>
              </a:rPr>
              <a:t>субсидии за счет средств исчисленных налогов ОРП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1826679" y="6477177"/>
            <a:ext cx="5635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8</a:t>
            </a:r>
            <a:endParaRPr lang="ru-RU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5039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p15="http://schemas.microsoft.com/office/powerpoint/2012/main"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1_BasicWhite">
  <a:themeElements>
    <a:clrScheme name="21_BasicWhite">
      <a:dk1>
        <a:srgbClr val="5E5E5E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Helvetica Neue"/>
        <a:ea typeface="Helvetica Neue"/>
        <a:cs typeface="Helvetica Neue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338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5E5E5E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42</TotalTime>
  <Words>1160</Words>
  <Application>Microsoft Office PowerPoint</Application>
  <PresentationFormat>Широкоэкранный</PresentationFormat>
  <Paragraphs>167</Paragraphs>
  <Slides>8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21" baseType="lpstr">
      <vt:lpstr>Arial</vt:lpstr>
      <vt:lpstr>Arial Narrow</vt:lpstr>
      <vt:lpstr>Calibri</vt:lpstr>
      <vt:lpstr>Calibri Light</vt:lpstr>
      <vt:lpstr>Helvetica Neue</vt:lpstr>
      <vt:lpstr>Helvetica Neue Medium</vt:lpstr>
      <vt:lpstr>Stem</vt:lpstr>
      <vt:lpstr>Stem Medium</vt:lpstr>
      <vt:lpstr>Verdana</vt:lpstr>
      <vt:lpstr>Wingdings</vt:lpstr>
      <vt:lpstr>Тема Office</vt:lpstr>
      <vt:lpstr>21_BasicWhite</vt:lpstr>
      <vt:lpstr>Слайд think-cell</vt:lpstr>
      <vt:lpstr>Механизм соглашений о защите и поощрении капиталовложений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ошин Антон Александрович</dc:creator>
  <cp:lastModifiedBy>Григорьева Евгения Александровна</cp:lastModifiedBy>
  <cp:revision>290</cp:revision>
  <cp:lastPrinted>2022-06-29T08:09:00Z</cp:lastPrinted>
  <dcterms:created xsi:type="dcterms:W3CDTF">2021-11-03T11:27:43Z</dcterms:created>
  <dcterms:modified xsi:type="dcterms:W3CDTF">2022-09-21T08:21:09Z</dcterms:modified>
</cp:coreProperties>
</file>